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3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4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625" r:id="rId2"/>
    <p:sldId id="626" r:id="rId3"/>
    <p:sldId id="630" r:id="rId4"/>
    <p:sldId id="631" r:id="rId5"/>
    <p:sldId id="650" r:id="rId6"/>
  </p:sldIdLst>
  <p:sldSz cx="9144000" cy="6858000" type="screen4x3"/>
  <p:notesSz cx="6794500" cy="9918700"/>
  <p:custDataLst>
    <p:tags r:id="rId9"/>
  </p:custDataLst>
  <p:defaultTextStyle>
    <a:defPPr>
      <a:defRPr lang="en-US"/>
    </a:defPPr>
    <a:lvl1pPr algn="ctr" rtl="0" eaLnBrk="0" fontAlgn="base" hangingPunct="0">
      <a:lnSpc>
        <a:spcPct val="80000"/>
      </a:lnSpc>
      <a:spcBef>
        <a:spcPct val="50000"/>
      </a:spcBef>
      <a:spcAft>
        <a:spcPct val="0"/>
      </a:spcAft>
      <a:defRPr sz="7200" b="1" kern="1200">
        <a:solidFill>
          <a:schemeClr val="bg1"/>
        </a:solidFill>
        <a:latin typeface="TheSans B7 Bold" pitchFamily="34" charset="0"/>
        <a:ea typeface="+mn-ea"/>
        <a:cs typeface="+mn-cs"/>
      </a:defRPr>
    </a:lvl1pPr>
    <a:lvl2pPr marL="457200" algn="ctr" rtl="0" eaLnBrk="0" fontAlgn="base" hangingPunct="0">
      <a:lnSpc>
        <a:spcPct val="80000"/>
      </a:lnSpc>
      <a:spcBef>
        <a:spcPct val="50000"/>
      </a:spcBef>
      <a:spcAft>
        <a:spcPct val="0"/>
      </a:spcAft>
      <a:defRPr sz="7200" b="1" kern="1200">
        <a:solidFill>
          <a:schemeClr val="bg1"/>
        </a:solidFill>
        <a:latin typeface="TheSans B7 Bold" pitchFamily="34" charset="0"/>
        <a:ea typeface="+mn-ea"/>
        <a:cs typeface="+mn-cs"/>
      </a:defRPr>
    </a:lvl2pPr>
    <a:lvl3pPr marL="914400" algn="ctr" rtl="0" eaLnBrk="0" fontAlgn="base" hangingPunct="0">
      <a:lnSpc>
        <a:spcPct val="80000"/>
      </a:lnSpc>
      <a:spcBef>
        <a:spcPct val="50000"/>
      </a:spcBef>
      <a:spcAft>
        <a:spcPct val="0"/>
      </a:spcAft>
      <a:defRPr sz="7200" b="1" kern="1200">
        <a:solidFill>
          <a:schemeClr val="bg1"/>
        </a:solidFill>
        <a:latin typeface="TheSans B7 Bold" pitchFamily="34" charset="0"/>
        <a:ea typeface="+mn-ea"/>
        <a:cs typeface="+mn-cs"/>
      </a:defRPr>
    </a:lvl3pPr>
    <a:lvl4pPr marL="1371600" algn="ctr" rtl="0" eaLnBrk="0" fontAlgn="base" hangingPunct="0">
      <a:lnSpc>
        <a:spcPct val="80000"/>
      </a:lnSpc>
      <a:spcBef>
        <a:spcPct val="50000"/>
      </a:spcBef>
      <a:spcAft>
        <a:spcPct val="0"/>
      </a:spcAft>
      <a:defRPr sz="7200" b="1" kern="1200">
        <a:solidFill>
          <a:schemeClr val="bg1"/>
        </a:solidFill>
        <a:latin typeface="TheSans B7 Bold" pitchFamily="34" charset="0"/>
        <a:ea typeface="+mn-ea"/>
        <a:cs typeface="+mn-cs"/>
      </a:defRPr>
    </a:lvl4pPr>
    <a:lvl5pPr marL="1828800" algn="ctr" rtl="0" eaLnBrk="0" fontAlgn="base" hangingPunct="0">
      <a:lnSpc>
        <a:spcPct val="80000"/>
      </a:lnSpc>
      <a:spcBef>
        <a:spcPct val="50000"/>
      </a:spcBef>
      <a:spcAft>
        <a:spcPct val="0"/>
      </a:spcAft>
      <a:defRPr sz="7200" b="1" kern="1200">
        <a:solidFill>
          <a:schemeClr val="bg1"/>
        </a:solidFill>
        <a:latin typeface="TheSans B7 Bold" pitchFamily="34" charset="0"/>
        <a:ea typeface="+mn-ea"/>
        <a:cs typeface="+mn-cs"/>
      </a:defRPr>
    </a:lvl5pPr>
    <a:lvl6pPr marL="2286000" algn="l" defTabSz="914400" rtl="0" eaLnBrk="1" latinLnBrk="0" hangingPunct="1">
      <a:defRPr sz="7200" b="1" kern="1200">
        <a:solidFill>
          <a:schemeClr val="bg1"/>
        </a:solidFill>
        <a:latin typeface="TheSans B7 Bold" pitchFamily="34" charset="0"/>
        <a:ea typeface="+mn-ea"/>
        <a:cs typeface="+mn-cs"/>
      </a:defRPr>
    </a:lvl6pPr>
    <a:lvl7pPr marL="2743200" algn="l" defTabSz="914400" rtl="0" eaLnBrk="1" latinLnBrk="0" hangingPunct="1">
      <a:defRPr sz="7200" b="1" kern="1200">
        <a:solidFill>
          <a:schemeClr val="bg1"/>
        </a:solidFill>
        <a:latin typeface="TheSans B7 Bold" pitchFamily="34" charset="0"/>
        <a:ea typeface="+mn-ea"/>
        <a:cs typeface="+mn-cs"/>
      </a:defRPr>
    </a:lvl7pPr>
    <a:lvl8pPr marL="3200400" algn="l" defTabSz="914400" rtl="0" eaLnBrk="1" latinLnBrk="0" hangingPunct="1">
      <a:defRPr sz="7200" b="1" kern="1200">
        <a:solidFill>
          <a:schemeClr val="bg1"/>
        </a:solidFill>
        <a:latin typeface="TheSans B7 Bold" pitchFamily="34" charset="0"/>
        <a:ea typeface="+mn-ea"/>
        <a:cs typeface="+mn-cs"/>
      </a:defRPr>
    </a:lvl8pPr>
    <a:lvl9pPr marL="3657600" algn="l" defTabSz="914400" rtl="0" eaLnBrk="1" latinLnBrk="0" hangingPunct="1">
      <a:defRPr sz="7200" b="1" kern="1200">
        <a:solidFill>
          <a:schemeClr val="bg1"/>
        </a:solidFill>
        <a:latin typeface="TheSans B7 Bold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4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49100"/>
    <a:srgbClr val="B2B2B2"/>
    <a:srgbClr val="DDDDDD"/>
    <a:srgbClr val="7E597E"/>
    <a:srgbClr val="006582"/>
    <a:srgbClr val="E1E1E1"/>
    <a:srgbClr val="DEDEDE"/>
    <a:srgbClr val="C0D9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5" autoAdjust="0"/>
    <p:restoredTop sz="95000" autoAdjust="0"/>
  </p:normalViewPr>
  <p:slideViewPr>
    <p:cSldViewPr snapToGrid="0">
      <p:cViewPr>
        <p:scale>
          <a:sx n="53" d="100"/>
          <a:sy n="53" d="100"/>
        </p:scale>
        <p:origin x="-1752" y="-3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70" d="100"/>
          <a:sy n="170" d="100"/>
        </p:scale>
        <p:origin x="1074" y="-1020"/>
      </p:cViewPr>
      <p:guideLst>
        <p:guide orient="horz" pos="3124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image" Target="../media/image1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32262" cy="471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554" tIns="46277" rIns="92554" bIns="46277" numCol="1" anchor="t" anchorCtr="0" compatLnSpc="1">
            <a:prstTxWarp prst="textNoShape">
              <a:avLst/>
            </a:prstTxWarp>
          </a:bodyPr>
          <a:lstStyle>
            <a:lvl1pPr algn="l" defTabSz="926103">
              <a:lnSpc>
                <a:spcPct val="100000"/>
              </a:lnSpc>
              <a:spcBef>
                <a:spcPct val="0"/>
              </a:spcBef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33126" y="1"/>
            <a:ext cx="2932262" cy="471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554" tIns="46277" rIns="92554" bIns="46277" numCol="1" anchor="t" anchorCtr="0" compatLnSpc="1">
            <a:prstTxWarp prst="textNoShape">
              <a:avLst/>
            </a:prstTxWarp>
          </a:bodyPr>
          <a:lstStyle>
            <a:lvl1pPr algn="r" defTabSz="926103">
              <a:lnSpc>
                <a:spcPct val="100000"/>
              </a:lnSpc>
              <a:spcBef>
                <a:spcPct val="0"/>
              </a:spcBef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89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3799"/>
            <a:ext cx="2932262" cy="472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554" tIns="46277" rIns="92554" bIns="46277" numCol="1" anchor="b" anchorCtr="0" compatLnSpc="1">
            <a:prstTxWarp prst="textNoShape">
              <a:avLst/>
            </a:prstTxWarp>
          </a:bodyPr>
          <a:lstStyle>
            <a:lvl1pPr algn="l" defTabSz="926103">
              <a:lnSpc>
                <a:spcPct val="100000"/>
              </a:lnSpc>
              <a:spcBef>
                <a:spcPct val="0"/>
              </a:spcBef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de-DE" altLang="de-DE" smtClean="0"/>
              <a:t>Kontakt: Katharine Zepf (katharine.zepf@vdma.org)</a:t>
            </a:r>
            <a:endParaRPr lang="de-DE" altLang="de-DE"/>
          </a:p>
        </p:txBody>
      </p:sp>
      <p:sp>
        <p:nvSpPr>
          <p:cNvPr id="389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33126" y="9423799"/>
            <a:ext cx="2932262" cy="472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554" tIns="46277" rIns="92554" bIns="46277" numCol="1" anchor="b" anchorCtr="0" compatLnSpc="1">
            <a:prstTxWarp prst="textNoShape">
              <a:avLst/>
            </a:prstTxWarp>
          </a:bodyPr>
          <a:lstStyle>
            <a:lvl1pPr algn="r" defTabSz="926103">
              <a:lnSpc>
                <a:spcPct val="100000"/>
              </a:lnSpc>
              <a:spcBef>
                <a:spcPct val="0"/>
              </a:spcBef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7812EFAA-50A3-45CD-8E97-907981EA1203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7397256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199" cy="496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97" tIns="47749" rIns="95497" bIns="47749" numCol="1" anchor="t" anchorCtr="0" compatLnSpc="1">
            <a:prstTxWarp prst="textNoShape">
              <a:avLst/>
            </a:prstTxWarp>
          </a:bodyPr>
          <a:lstStyle>
            <a:lvl1pPr algn="l" defTabSz="954747">
              <a:lnSpc>
                <a:spcPct val="100000"/>
              </a:lnSpc>
              <a:spcBef>
                <a:spcPct val="0"/>
              </a:spcBef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302" y="0"/>
            <a:ext cx="2945199" cy="496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97" tIns="47749" rIns="95497" bIns="47749" numCol="1" anchor="t" anchorCtr="0" compatLnSpc="1">
            <a:prstTxWarp prst="textNoShape">
              <a:avLst/>
            </a:prstTxWarp>
          </a:bodyPr>
          <a:lstStyle>
            <a:lvl1pPr algn="r" defTabSz="954747">
              <a:lnSpc>
                <a:spcPct val="100000"/>
              </a:lnSpc>
              <a:spcBef>
                <a:spcPct val="0"/>
              </a:spcBef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252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718" y="4712694"/>
            <a:ext cx="4983065" cy="446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97" tIns="47749" rIns="95497" bIns="477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smtClean="0"/>
              <a:t>Klicken Sie, um die Formate des Vorlagentextes zu bearbeiten</a:t>
            </a:r>
          </a:p>
          <a:p>
            <a:pPr lvl="1"/>
            <a:r>
              <a:rPr lang="de-DE" altLang="de-DE" noProof="0" smtClean="0"/>
              <a:t>Zweite Ebene</a:t>
            </a:r>
          </a:p>
          <a:p>
            <a:pPr lvl="2"/>
            <a:r>
              <a:rPr lang="de-DE" altLang="de-DE" noProof="0" smtClean="0"/>
              <a:t>Dritte Ebene</a:t>
            </a:r>
          </a:p>
          <a:p>
            <a:pPr lvl="3"/>
            <a:r>
              <a:rPr lang="de-DE" altLang="de-DE" noProof="0" smtClean="0"/>
              <a:t>Vierte Ebene</a:t>
            </a:r>
          </a:p>
          <a:p>
            <a:pPr lvl="4"/>
            <a:r>
              <a:rPr lang="de-DE" altLang="de-DE" noProof="0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2209"/>
            <a:ext cx="2945199" cy="496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97" tIns="47749" rIns="95497" bIns="47749" numCol="1" anchor="b" anchorCtr="0" compatLnSpc="1">
            <a:prstTxWarp prst="textNoShape">
              <a:avLst/>
            </a:prstTxWarp>
          </a:bodyPr>
          <a:lstStyle>
            <a:lvl1pPr algn="l" defTabSz="954747">
              <a:lnSpc>
                <a:spcPct val="100000"/>
              </a:lnSpc>
              <a:spcBef>
                <a:spcPct val="0"/>
              </a:spcBef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de-DE" altLang="de-DE" smtClean="0"/>
              <a:t>Kontakt: Katharine Zepf (katharine.zepf@vdma.org)</a:t>
            </a:r>
            <a:endParaRPr lang="de-DE" altLang="de-DE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302" y="9422209"/>
            <a:ext cx="2945199" cy="496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97" tIns="47749" rIns="95497" bIns="47749" numCol="1" anchor="b" anchorCtr="0" compatLnSpc="1">
            <a:prstTxWarp prst="textNoShape">
              <a:avLst/>
            </a:prstTxWarp>
          </a:bodyPr>
          <a:lstStyle>
            <a:lvl1pPr algn="r" defTabSz="954747">
              <a:lnSpc>
                <a:spcPct val="100000"/>
              </a:lnSpc>
              <a:spcBef>
                <a:spcPct val="0"/>
              </a:spcBef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6C6B5711-6023-49E1-ADC3-EBD5315D4EC8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8462263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Kontakt: Katharine Zepf (katharine.zepf@vdma.org)</a:t>
            </a:r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C6B5711-6023-49E1-ADC3-EBD5315D4EC8}" type="slidenum">
              <a:rPr lang="de-DE" altLang="de-DE" smtClean="0"/>
              <a:pPr>
                <a:defRPr/>
              </a:pPr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221317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Kontakt: Katharine Zepf (katharine.zepf@vdma.org)</a:t>
            </a:r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C6B5711-6023-49E1-ADC3-EBD5315D4EC8}" type="slidenum">
              <a:rPr lang="de-DE" altLang="de-DE" smtClean="0"/>
              <a:pPr>
                <a:defRPr/>
              </a:pPr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41929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8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Kontakt: Katharine Zepf (katharine.zepf@vdma.org)</a:t>
            </a:r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C6B5711-6023-49E1-ADC3-EBD5315D4EC8}" type="slidenum">
              <a:rPr lang="de-DE" altLang="de-DE" smtClean="0"/>
              <a:pPr>
                <a:defRPr/>
              </a:pPr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395161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Kontakt: Katharine Zepf (katharine.zepf@vdma.org)</a:t>
            </a:r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C6B5711-6023-49E1-ADC3-EBD5315D4EC8}" type="slidenum">
              <a:rPr lang="de-DE" altLang="de-DE" smtClean="0"/>
              <a:pPr>
                <a:defRPr/>
              </a:pPr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473428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Clr>
                <a:schemeClr val="accent6">
                  <a:lumMod val="50000"/>
                </a:schemeClr>
              </a:buClr>
              <a:buSzPct val="80000"/>
            </a:pPr>
            <a:r>
              <a:rPr lang="de-DE" sz="900" b="1" dirty="0"/>
              <a:t>Verbesserung des Gesamtergebnis im relevanten Geschäftsbereich</a:t>
            </a:r>
            <a:endParaRPr lang="de-DE" sz="900" dirty="0"/>
          </a:p>
          <a:p>
            <a:pPr>
              <a:buClr>
                <a:schemeClr val="accent6">
                  <a:lumMod val="50000"/>
                </a:schemeClr>
              </a:buClr>
              <a:buSzPct val="80000"/>
            </a:pPr>
            <a:r>
              <a:rPr lang="de-DE" sz="900" dirty="0"/>
              <a:t>16% der  Befragten gaben eine Verbesserung des Gesamtergebnisses im relevanten Geschäftsbereich mit größer 20% an. 5% der Umfrageteilnehmer berichteten eine Verbesserung des Gesamtergebnisses in Höhe von 10-20% und 32% der Befragten meldeten eine Verbesserung von 5-10%.</a:t>
            </a:r>
          </a:p>
          <a:p>
            <a:pPr>
              <a:buClr>
                <a:schemeClr val="accent6">
                  <a:lumMod val="50000"/>
                </a:schemeClr>
              </a:buClr>
              <a:buSzPct val="80000"/>
            </a:pPr>
            <a:r>
              <a:rPr lang="de-DE" sz="900" dirty="0"/>
              <a:t>Der Großteil der Befragten – nämlich 46% - gaben eine Verbesserung des Gesamtergebnisses zwischen 0 und 5% an</a:t>
            </a:r>
          </a:p>
          <a:p>
            <a:pPr>
              <a:buClr>
                <a:schemeClr val="accent6">
                  <a:lumMod val="50000"/>
                </a:schemeClr>
              </a:buClr>
              <a:buSzPct val="80000"/>
            </a:pPr>
            <a:r>
              <a:rPr lang="de-DE" sz="900" dirty="0"/>
              <a:t>Im Median ergibt sich damit eine Ergebnisverbesserung von 8%</a:t>
            </a:r>
          </a:p>
          <a:p>
            <a:pPr>
              <a:buClr>
                <a:schemeClr val="accent6">
                  <a:lumMod val="50000"/>
                </a:schemeClr>
              </a:buClr>
              <a:buSzPct val="80000"/>
            </a:pPr>
            <a:endParaRPr lang="de-DE" sz="900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Kontakt: Katharine Zepf (katharine.zepf@vdma.org)</a:t>
            </a:r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C6B5711-6023-49E1-ADC3-EBD5315D4EC8}" type="slidenum">
              <a:rPr lang="de-DE" altLang="de-DE" smtClean="0"/>
              <a:pPr>
                <a:defRPr/>
              </a:pPr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08055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4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"/>
          <p:cNvGraphicFramePr>
            <a:graphicFrameLocks noChangeAspect="1"/>
          </p:cNvGraphicFramePr>
          <p:nvPr/>
        </p:nvGraphicFramePr>
        <p:xfrm>
          <a:off x="7107238" y="433388"/>
          <a:ext cx="1760537" cy="1143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2" name="CorelDRAW" r:id="rId3" imgW="914400" imgH="914400" progId="CorelDraw.Graphic.8">
                  <p:embed/>
                </p:oleObj>
              </mc:Choice>
              <mc:Fallback>
                <p:oleObj name="CorelDRAW" r:id="rId3" imgW="914400" imgH="914400" progId="CorelDraw.Graphic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07238" y="433388"/>
                        <a:ext cx="1760537" cy="1143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altLang="de-DE" noProof="0" smtClean="0"/>
              <a:t>Klicken Sie, um das Titelformat zu bearbeiten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pPr lvl="0"/>
            <a:r>
              <a:rPr lang="de-DE" altLang="de-DE" noProof="0" smtClean="0"/>
              <a:t>Klicken Sie, um das Format des Untertitel-Masters zu bearbeiten.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 algn="ctr">
              <a:defRPr sz="12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en-US" altLang="de-DE"/>
              <a:t>Der VDMA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B96A7DDA-F15A-4BEB-8971-6F8DF444F8DA}" type="slidenum">
              <a:rPr lang="en-US" altLang="de-DE"/>
              <a:pPr>
                <a:defRPr/>
              </a:pPr>
              <a:t>‹Nr.›</a:t>
            </a:fld>
            <a:endParaRPr lang="en-US" altLang="de-DE"/>
          </a:p>
        </p:txBody>
      </p:sp>
      <p:sp>
        <p:nvSpPr>
          <p:cNvPr id="8" name="Fußzeilenplatzhalter 3"/>
          <p:cNvSpPr txBox="1">
            <a:spLocks/>
          </p:cNvSpPr>
          <p:nvPr userDrawn="1"/>
        </p:nvSpPr>
        <p:spPr bwMode="auto">
          <a:xfrm>
            <a:off x="305598" y="115888"/>
            <a:ext cx="549433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 b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de-DE" smtClean="0"/>
              <a:t>Fachverband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Druck</a:t>
            </a:r>
            <a:r>
              <a:rPr lang="en-US" altLang="de-DE" dirty="0" smtClean="0"/>
              <a:t>- und </a:t>
            </a:r>
            <a:r>
              <a:rPr lang="en-US" altLang="de-DE" dirty="0" err="1" smtClean="0"/>
              <a:t>Papiertechnik</a:t>
            </a:r>
            <a:endParaRPr lang="en-US" altLang="de-DE" dirty="0" smtClean="0"/>
          </a:p>
          <a:p>
            <a:pPr>
              <a:defRPr/>
            </a:pPr>
            <a:endParaRPr lang="en-US" altLang="de-DE" dirty="0" smtClean="0"/>
          </a:p>
          <a:p>
            <a:pPr>
              <a:defRPr/>
            </a:pPr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932415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sz="1500">
                <a:solidFill>
                  <a:schemeClr val="tx1"/>
                </a:solidFill>
                <a:latin typeface="TheSansBold" pitchFamily="34" charset="0"/>
              </a:defRPr>
            </a:lvl1pPr>
          </a:lstStyle>
          <a:p>
            <a:pPr>
              <a:defRPr/>
            </a:pPr>
            <a:r>
              <a:rPr lang="en-US" altLang="de-DE" sz="1200">
                <a:solidFill>
                  <a:schemeClr val="accent1"/>
                </a:solidFill>
                <a:latin typeface="+mn-lt"/>
              </a:rPr>
              <a:t>Fachverband Druck- und Papiertechnik</a:t>
            </a:r>
          </a:p>
          <a:p>
            <a:pPr>
              <a:defRPr/>
            </a:pPr>
            <a:endParaRPr lang="en-US" altLang="de-DE" sz="120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eite </a:t>
            </a:r>
            <a:fld id="{780BAA0D-BC4B-4267-933F-17C7CF335BA2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2446899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sz="1500">
                <a:solidFill>
                  <a:schemeClr val="tx1"/>
                </a:solidFill>
                <a:latin typeface="TheSansBold" pitchFamily="34" charset="0"/>
              </a:defRPr>
            </a:lvl1pPr>
          </a:lstStyle>
          <a:p>
            <a:pPr>
              <a:defRPr/>
            </a:pPr>
            <a:r>
              <a:rPr lang="en-US" altLang="de-DE" sz="1200">
                <a:solidFill>
                  <a:schemeClr val="accent1"/>
                </a:solidFill>
                <a:latin typeface="+mn-lt"/>
              </a:rPr>
              <a:t>Fachverband Druck- und Papiertechnik</a:t>
            </a:r>
          </a:p>
          <a:p>
            <a:pPr>
              <a:defRPr/>
            </a:pPr>
            <a:endParaRPr lang="en-US" altLang="de-DE" sz="120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eite </a:t>
            </a:r>
            <a:fld id="{A822C1CC-DE9E-43C3-B7DB-29F2475EF303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902486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1463" y="558800"/>
            <a:ext cx="2141537" cy="591820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95263" y="558800"/>
            <a:ext cx="6273800" cy="591820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sz="1500">
                <a:solidFill>
                  <a:schemeClr val="tx1"/>
                </a:solidFill>
                <a:latin typeface="TheSansBold" pitchFamily="34" charset="0"/>
              </a:defRPr>
            </a:lvl1pPr>
          </a:lstStyle>
          <a:p>
            <a:pPr>
              <a:defRPr/>
            </a:pPr>
            <a:r>
              <a:rPr lang="en-US" altLang="de-DE" sz="1200">
                <a:solidFill>
                  <a:schemeClr val="accent1"/>
                </a:solidFill>
                <a:latin typeface="+mn-lt"/>
              </a:rPr>
              <a:t>Fachverband Druck- und Papiertechnik</a:t>
            </a:r>
          </a:p>
          <a:p>
            <a:pPr>
              <a:defRPr/>
            </a:pPr>
            <a:endParaRPr lang="en-US" altLang="de-DE" sz="120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eite </a:t>
            </a:r>
            <a:fld id="{3908133F-C13B-4424-8580-306469EF2375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733833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81954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6388" y="987078"/>
            <a:ext cx="7164000" cy="36071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de-DE" dirty="0" smtClean="0"/>
              <a:t>Actiontitl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5598" y="558800"/>
            <a:ext cx="7164000" cy="419100"/>
          </a:xfrm>
        </p:spPr>
        <p:txBody>
          <a:bodyPr lIns="0"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05598" y="115888"/>
            <a:ext cx="5494337" cy="304800"/>
          </a:xfrm>
          <a:ln/>
        </p:spPr>
        <p:txBody>
          <a:bodyPr lIns="0"/>
          <a:lstStyle>
            <a:lvl1pPr>
              <a:defRPr sz="1500">
                <a:solidFill>
                  <a:schemeClr val="tx1"/>
                </a:solidFill>
                <a:latin typeface="TheSansBold" pitchFamily="34" charset="0"/>
              </a:defRPr>
            </a:lvl1pPr>
          </a:lstStyle>
          <a:p>
            <a:pPr>
              <a:defRPr/>
            </a:pPr>
            <a:r>
              <a:rPr lang="en-US" altLang="de-DE" sz="1200" dirty="0" err="1" smtClean="0">
                <a:solidFill>
                  <a:schemeClr val="accent1"/>
                </a:solidFill>
              </a:rPr>
              <a:t>Arbeitsgemeinschaft</a:t>
            </a:r>
            <a:r>
              <a:rPr lang="en-US" altLang="de-DE" sz="1200" dirty="0" smtClean="0">
                <a:solidFill>
                  <a:schemeClr val="accent1"/>
                </a:solidFill>
              </a:rPr>
              <a:t> </a:t>
            </a:r>
            <a:r>
              <a:rPr lang="en-US" altLang="de-DE" sz="1200" dirty="0" err="1" smtClean="0">
                <a:solidFill>
                  <a:schemeClr val="accent1"/>
                </a:solidFill>
              </a:rPr>
              <a:t>Großanlagenbau</a:t>
            </a:r>
            <a:endParaRPr lang="en-US" altLang="de-DE" sz="1200" dirty="0" smtClean="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eite </a:t>
            </a:r>
            <a:fld id="{F25E6A0E-1702-4519-BCA5-3343E84E9ABE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509024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_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5593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6388" y="987078"/>
            <a:ext cx="7164000" cy="36071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de-DE" dirty="0" smtClean="0"/>
              <a:t>Actiontitl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5598" y="558800"/>
            <a:ext cx="7164000" cy="419100"/>
          </a:xfrm>
        </p:spPr>
        <p:txBody>
          <a:bodyPr lIns="0"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05598" y="115888"/>
            <a:ext cx="5494337" cy="304800"/>
          </a:xfrm>
          <a:ln/>
        </p:spPr>
        <p:txBody>
          <a:bodyPr lIns="0"/>
          <a:lstStyle>
            <a:lvl1pPr>
              <a:defRPr sz="1500">
                <a:solidFill>
                  <a:schemeClr val="tx1"/>
                </a:solidFill>
                <a:latin typeface="TheSansBold" pitchFamily="34" charset="0"/>
              </a:defRPr>
            </a:lvl1pPr>
          </a:lstStyle>
          <a:p>
            <a:pPr>
              <a:defRPr/>
            </a:pPr>
            <a:r>
              <a:rPr lang="en-US" altLang="de-DE" sz="1200" dirty="0" err="1" smtClean="0">
                <a:solidFill>
                  <a:schemeClr val="accent1"/>
                </a:solidFill>
              </a:rPr>
              <a:t>Arbeitsgemeinschaft</a:t>
            </a:r>
            <a:r>
              <a:rPr lang="en-US" altLang="de-DE" sz="1200" dirty="0" smtClean="0">
                <a:solidFill>
                  <a:schemeClr val="accent1"/>
                </a:solidFill>
              </a:rPr>
              <a:t> </a:t>
            </a:r>
            <a:r>
              <a:rPr lang="en-US" altLang="de-DE" sz="1200" dirty="0" err="1" smtClean="0">
                <a:solidFill>
                  <a:schemeClr val="accent1"/>
                </a:solidFill>
              </a:rPr>
              <a:t>Großanlagenbau</a:t>
            </a:r>
            <a:endParaRPr lang="en-US" altLang="de-DE" sz="1200" dirty="0" smtClean="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eite </a:t>
            </a:r>
            <a:fld id="{F25E6A0E-1702-4519-BCA5-3343E84E9ABE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4206793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sz="1500">
                <a:solidFill>
                  <a:schemeClr val="tx1"/>
                </a:solidFill>
                <a:latin typeface="TheSansBold" pitchFamily="34" charset="0"/>
              </a:defRPr>
            </a:lvl1pPr>
          </a:lstStyle>
          <a:p>
            <a:pPr>
              <a:defRPr/>
            </a:pPr>
            <a:r>
              <a:rPr lang="en-US" altLang="de-DE" sz="1200">
                <a:solidFill>
                  <a:schemeClr val="accent1"/>
                </a:solidFill>
                <a:latin typeface="+mn-lt"/>
              </a:rPr>
              <a:t>Fachverband Druck- und Papiertechnik</a:t>
            </a:r>
          </a:p>
          <a:p>
            <a:pPr>
              <a:defRPr/>
            </a:pPr>
            <a:endParaRPr lang="en-US" altLang="de-DE" sz="120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eite </a:t>
            </a:r>
            <a:fld id="{41BC094C-B1B9-4962-B130-F317EAF194F8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521867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81000" y="1600200"/>
            <a:ext cx="41148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1148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sz="1500">
                <a:solidFill>
                  <a:schemeClr val="tx1"/>
                </a:solidFill>
                <a:latin typeface="TheSansBold" pitchFamily="34" charset="0"/>
              </a:defRPr>
            </a:lvl1pPr>
          </a:lstStyle>
          <a:p>
            <a:pPr>
              <a:defRPr/>
            </a:pPr>
            <a:r>
              <a:rPr lang="en-US" altLang="de-DE" sz="1200">
                <a:solidFill>
                  <a:schemeClr val="accent1"/>
                </a:solidFill>
                <a:latin typeface="+mn-lt"/>
              </a:rPr>
              <a:t>Fachverband Druck- und Papiertechnik</a:t>
            </a:r>
          </a:p>
          <a:p>
            <a:pPr>
              <a:defRPr/>
            </a:pPr>
            <a:endParaRPr lang="en-US" altLang="de-DE" sz="120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eite </a:t>
            </a:r>
            <a:fld id="{5CCE507E-CA41-47F5-B3F5-3F77E07C0B9A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931087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sz="1500">
                <a:solidFill>
                  <a:schemeClr val="tx1"/>
                </a:solidFill>
                <a:latin typeface="TheSansBold" pitchFamily="34" charset="0"/>
              </a:defRPr>
            </a:lvl1pPr>
          </a:lstStyle>
          <a:p>
            <a:pPr>
              <a:defRPr/>
            </a:pPr>
            <a:r>
              <a:rPr lang="en-US" altLang="de-DE" sz="1200">
                <a:solidFill>
                  <a:schemeClr val="accent1"/>
                </a:solidFill>
                <a:latin typeface="+mn-lt"/>
              </a:rPr>
              <a:t>Fachverband Druck- und Papiertechnik</a:t>
            </a:r>
          </a:p>
          <a:p>
            <a:pPr>
              <a:defRPr/>
            </a:pPr>
            <a:endParaRPr lang="en-US" altLang="de-DE" sz="120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eite </a:t>
            </a:r>
            <a:fld id="{9086552E-1277-4C1E-BC35-2FA962CFC2F8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460866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sz="1500">
                <a:solidFill>
                  <a:schemeClr val="tx1"/>
                </a:solidFill>
                <a:latin typeface="TheSansBold" pitchFamily="34" charset="0"/>
              </a:defRPr>
            </a:lvl1pPr>
          </a:lstStyle>
          <a:p>
            <a:pPr>
              <a:defRPr/>
            </a:pPr>
            <a:r>
              <a:rPr lang="en-US" altLang="de-DE" sz="1200">
                <a:solidFill>
                  <a:schemeClr val="accent1"/>
                </a:solidFill>
                <a:latin typeface="+mn-lt"/>
              </a:rPr>
              <a:t>Fachverband Druck- und Papiertechnik</a:t>
            </a:r>
          </a:p>
          <a:p>
            <a:pPr>
              <a:defRPr/>
            </a:pPr>
            <a:endParaRPr lang="en-US" altLang="de-DE" sz="120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eite </a:t>
            </a:r>
            <a:fld id="{B57FD2E0-D93D-4BA5-82B1-8CF98ABBE442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603161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sz="1500">
                <a:solidFill>
                  <a:schemeClr val="tx1"/>
                </a:solidFill>
                <a:latin typeface="TheSansBold" pitchFamily="34" charset="0"/>
              </a:defRPr>
            </a:lvl1pPr>
          </a:lstStyle>
          <a:p>
            <a:pPr>
              <a:defRPr/>
            </a:pPr>
            <a:r>
              <a:rPr lang="en-US" altLang="de-DE" sz="1200">
                <a:solidFill>
                  <a:schemeClr val="accent1"/>
                </a:solidFill>
                <a:latin typeface="+mn-lt"/>
              </a:rPr>
              <a:t>Fachverband Druck- und Papiertechnik</a:t>
            </a:r>
          </a:p>
          <a:p>
            <a:pPr>
              <a:defRPr/>
            </a:pPr>
            <a:endParaRPr lang="en-US" altLang="de-DE" sz="120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eite </a:t>
            </a:r>
            <a:fld id="{57B73060-DBED-4D52-9236-FBB5E7597177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2599271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sz="1500">
                <a:solidFill>
                  <a:schemeClr val="tx1"/>
                </a:solidFill>
                <a:latin typeface="TheSansBold" pitchFamily="34" charset="0"/>
              </a:defRPr>
            </a:lvl1pPr>
          </a:lstStyle>
          <a:p>
            <a:pPr>
              <a:defRPr/>
            </a:pPr>
            <a:r>
              <a:rPr lang="en-US" altLang="de-DE" sz="1200">
                <a:solidFill>
                  <a:schemeClr val="accent1"/>
                </a:solidFill>
                <a:latin typeface="+mn-lt"/>
              </a:rPr>
              <a:t>Fachverband Druck- und Papiertechnik</a:t>
            </a:r>
          </a:p>
          <a:p>
            <a:pPr>
              <a:defRPr/>
            </a:pPr>
            <a:endParaRPr lang="en-US" altLang="de-DE" sz="120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eite </a:t>
            </a:r>
            <a:fld id="{44C7349E-28EE-4CA4-A0B0-E2FE4514CD4D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467604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818988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" name="think-cell Folie" r:id="rId16" imgW="136" imgH="136" progId="TCLayout.ActiveDocument.1">
                  <p:embed/>
                </p:oleObj>
              </mc:Choice>
              <mc:Fallback>
                <p:oleObj name="think-cell Folie" r:id="rId1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5598" y="558800"/>
            <a:ext cx="7009602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 err="1" smtClean="0"/>
              <a:t>Hier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klicken</a:t>
            </a:r>
            <a:r>
              <a:rPr lang="en-US" altLang="de-DE" dirty="0" smtClean="0"/>
              <a:t>, um Master-</a:t>
            </a:r>
            <a:r>
              <a:rPr lang="en-US" altLang="de-DE" dirty="0" err="1" smtClean="0"/>
              <a:t>Titelformat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zu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bearbeiten</a:t>
            </a:r>
            <a:endParaRPr lang="en-US" altLang="de-DE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600200"/>
            <a:ext cx="83820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 err="1" smtClean="0"/>
              <a:t>Hier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klicken</a:t>
            </a:r>
            <a:r>
              <a:rPr lang="en-US" altLang="de-DE" dirty="0" smtClean="0"/>
              <a:t>, um Master-</a:t>
            </a:r>
            <a:r>
              <a:rPr lang="en-US" altLang="de-DE" dirty="0" err="1" smtClean="0"/>
              <a:t>Textformat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zu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bearbeiten</a:t>
            </a:r>
            <a:r>
              <a:rPr lang="en-US" altLang="de-DE" dirty="0" smtClean="0"/>
              <a:t>.</a:t>
            </a:r>
          </a:p>
          <a:p>
            <a:pPr lvl="1"/>
            <a:r>
              <a:rPr lang="en-US" altLang="de-DE" dirty="0" err="1" smtClean="0"/>
              <a:t>Zweite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Ebene</a:t>
            </a:r>
            <a:endParaRPr lang="en-US" altLang="de-DE" dirty="0" smtClean="0"/>
          </a:p>
          <a:p>
            <a:pPr lvl="2"/>
            <a:r>
              <a:rPr lang="en-US" altLang="de-DE" dirty="0" err="1" smtClean="0"/>
              <a:t>Dritte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Ebene</a:t>
            </a:r>
            <a:endParaRPr lang="en-US" altLang="de-DE" dirty="0" smtClean="0"/>
          </a:p>
          <a:p>
            <a:pPr lvl="3"/>
            <a:r>
              <a:rPr lang="en-US" altLang="de-DE" dirty="0" err="1" smtClean="0"/>
              <a:t>Vierte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Ebene</a:t>
            </a:r>
            <a:endParaRPr lang="en-US" altLang="de-DE" dirty="0" smtClean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598" y="115888"/>
            <a:ext cx="549433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de-DE" dirty="0" err="1"/>
              <a:t>Fachverband</a:t>
            </a:r>
            <a:r>
              <a:rPr lang="en-US" altLang="de-DE" dirty="0"/>
              <a:t> </a:t>
            </a:r>
            <a:r>
              <a:rPr lang="en-US" altLang="de-DE" dirty="0" err="1"/>
              <a:t>Druck</a:t>
            </a:r>
            <a:r>
              <a:rPr lang="en-US" altLang="de-DE" dirty="0"/>
              <a:t>- und </a:t>
            </a:r>
            <a:r>
              <a:rPr lang="en-US" altLang="de-DE" dirty="0" err="1"/>
              <a:t>Papiertechnik</a:t>
            </a:r>
            <a:endParaRPr lang="en-US" altLang="de-DE" dirty="0"/>
          </a:p>
          <a:p>
            <a:pPr>
              <a:defRPr/>
            </a:pPr>
            <a:endParaRPr lang="en-US" altLang="de-DE" dirty="0"/>
          </a:p>
          <a:p>
            <a:pPr>
              <a:defRPr/>
            </a:pPr>
            <a:endParaRPr lang="en-US" altLang="de-DE" sz="1500" dirty="0">
              <a:solidFill>
                <a:schemeClr val="tx1"/>
              </a:solidFill>
              <a:latin typeface="TheSansBold" pitchFamily="34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6553200"/>
            <a:ext cx="19050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100" b="0" smtClean="0">
                <a:solidFill>
                  <a:schemeClr val="tx1"/>
                </a:solidFill>
                <a:latin typeface="TheSans B4 SemiLight" pitchFamily="34" charset="0"/>
              </a:defRPr>
            </a:lvl1pPr>
          </a:lstStyle>
          <a:p>
            <a:pPr>
              <a:defRPr/>
            </a:pPr>
            <a:r>
              <a:rPr lang="en-US" altLang="de-DE"/>
              <a:t>Seite </a:t>
            </a:r>
            <a:fld id="{BCDB3A73-04F3-457F-AF60-9855EDF158A5}" type="slidenum">
              <a:rPr lang="en-US" altLang="de-DE"/>
              <a:pPr>
                <a:defRPr/>
              </a:pPr>
              <a:t>‹Nr.›</a:t>
            </a:fld>
            <a:r>
              <a:rPr lang="en-US" altLang="de-DE"/>
              <a:t> • </a:t>
            </a:r>
            <a:fld id="{6F815C9C-F0D6-46C8-B7FA-BCA106B22EDC}" type="datetime1">
              <a:rPr lang="de-DE"/>
              <a:pPr>
                <a:defRPr/>
              </a:pPr>
              <a:t>13.06.2014</a:t>
            </a:fld>
            <a:endParaRPr lang="en-US" altLang="de-DE"/>
          </a:p>
        </p:txBody>
      </p:sp>
      <p:sp>
        <p:nvSpPr>
          <p:cNvPr id="2" name="Rectangle 17"/>
          <p:cNvSpPr>
            <a:spLocks noChangeArrowheads="1"/>
          </p:cNvSpPr>
          <p:nvPr/>
        </p:nvSpPr>
        <p:spPr bwMode="auto">
          <a:xfrm>
            <a:off x="304800" y="1447800"/>
            <a:ext cx="8534400" cy="5105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graphicFrame>
        <p:nvGraphicFramePr>
          <p:cNvPr id="1031" name="Object 29">
            <a:hlinkClick r:id="" action="ppaction://noaction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40128017"/>
              </p:ext>
            </p:extLst>
          </p:nvPr>
        </p:nvGraphicFramePr>
        <p:xfrm>
          <a:off x="7687618" y="125413"/>
          <a:ext cx="1204862" cy="780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" name="Image" r:id="rId18" imgW="10737734" imgH="6963643" progId="Photoshop.Image.5">
                  <p:embed/>
                </p:oleObj>
              </mc:Choice>
              <mc:Fallback>
                <p:oleObj name="Image" r:id="rId18" imgW="10737734" imgH="6963643" progId="Photoshop.Image.5">
                  <p:embed/>
                  <p:pic>
                    <p:nvPicPr>
                      <p:cNvPr id="0" name="Object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87618" y="125413"/>
                        <a:ext cx="1204862" cy="7809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5348" y="982598"/>
            <a:ext cx="1437132" cy="35438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1" r:id="rId2"/>
    <p:sldLayoutId id="2147483672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heSans B7 Bold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heSans B7 Bold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heSans B7 Bold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heSans B7 Bold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heSans B7 Bold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heSans B7 Bold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heSans B7 Bold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heSans B7 Bold" pitchFamily="34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rgbClr val="006582"/>
        </a:buClr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85000"/>
        </a:lnSpc>
        <a:spcBef>
          <a:spcPct val="20000"/>
        </a:spcBef>
        <a:spcAft>
          <a:spcPct val="20000"/>
        </a:spcAft>
        <a:buClr>
          <a:srgbClr val="F49100"/>
        </a:buClr>
        <a:buSzPct val="75000"/>
        <a:buFont typeface="Wingdings" pitchFamily="2" charset="2"/>
        <a:buChar char="£"/>
        <a:defRPr>
          <a:solidFill>
            <a:schemeClr val="tx1"/>
          </a:solidFill>
          <a:latin typeface="TheSans B4 SemiLight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49100"/>
        </a:buClr>
        <a:buSzPct val="65000"/>
        <a:buFont typeface="Wingdings" pitchFamily="2" charset="2"/>
        <a:buChar char="l"/>
        <a:defRPr>
          <a:solidFill>
            <a:schemeClr val="tx1"/>
          </a:solidFill>
          <a:latin typeface="TheSans B4 SemiLight" pitchFamily="34" charset="0"/>
        </a:defRPr>
      </a:lvl3pPr>
      <a:lvl4pPr marL="1562100" indent="-228600" algn="l" rtl="0" eaLnBrk="0" fontAlgn="base" hangingPunct="0">
        <a:spcBef>
          <a:spcPct val="20000"/>
        </a:spcBef>
        <a:spcAft>
          <a:spcPct val="0"/>
        </a:spcAft>
        <a:buClr>
          <a:srgbClr val="FF8700"/>
        </a:buClr>
        <a:buChar char="–"/>
        <a:defRPr sz="1500">
          <a:solidFill>
            <a:schemeClr val="tx1"/>
          </a:solidFill>
          <a:latin typeface="TheSans B4 SemiLight" pitchFamily="34" charset="0"/>
        </a:defRPr>
      </a:lvl4pPr>
      <a:lvl5pPr marL="19812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Arial" charset="0"/>
        </a:defRPr>
      </a:lvl5pPr>
      <a:lvl6pPr marL="2438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Arial" charset="0"/>
        </a:defRPr>
      </a:lvl6pPr>
      <a:lvl7pPr marL="28956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Arial" charset="0"/>
        </a:defRPr>
      </a:lvl7pPr>
      <a:lvl8pPr marL="33528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Arial" charset="0"/>
        </a:defRPr>
      </a:lvl8pPr>
      <a:lvl9pPr marL="38100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Arial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oleObject" Target="../embeddings/oleObject7.bin"/><Relationship Id="rId50" Type="http://schemas.openxmlformats.org/officeDocument/2006/relationships/image" Target="../media/image7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image" Target="../media/image1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41" Type="http://schemas.openxmlformats.org/officeDocument/2006/relationships/tags" Target="../tags/tag44.xml"/><Relationship Id="rId54" Type="http://schemas.openxmlformats.org/officeDocument/2006/relationships/image" Target="../media/image9.emf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oleObject" Target="../embeddings/oleObject6.bin"/><Relationship Id="rId53" Type="http://schemas.openxmlformats.org/officeDocument/2006/relationships/oleObject" Target="../embeddings/oleObject10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oleObject" Target="../embeddings/oleObject8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notesSlide" Target="../notesSlides/notesSlide1.xml"/><Relationship Id="rId52" Type="http://schemas.openxmlformats.org/officeDocument/2006/relationships/image" Target="../media/image8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slideLayout" Target="../slideLayouts/slideLayout3.xml"/><Relationship Id="rId48" Type="http://schemas.openxmlformats.org/officeDocument/2006/relationships/image" Target="../media/image6.emf"/><Relationship Id="rId8" Type="http://schemas.openxmlformats.org/officeDocument/2006/relationships/tags" Target="../tags/tag11.xml"/><Relationship Id="rId51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9" Type="http://schemas.openxmlformats.org/officeDocument/2006/relationships/tags" Target="../tags/tag83.xml"/><Relationship Id="rId21" Type="http://schemas.openxmlformats.org/officeDocument/2006/relationships/tags" Target="../tags/tag65.xml"/><Relationship Id="rId34" Type="http://schemas.openxmlformats.org/officeDocument/2006/relationships/tags" Target="../tags/tag78.xml"/><Relationship Id="rId42" Type="http://schemas.openxmlformats.org/officeDocument/2006/relationships/tags" Target="../tags/tag86.xml"/><Relationship Id="rId47" Type="http://schemas.openxmlformats.org/officeDocument/2006/relationships/tags" Target="../tags/tag91.xml"/><Relationship Id="rId50" Type="http://schemas.openxmlformats.org/officeDocument/2006/relationships/slideLayout" Target="../slideLayouts/slideLayout3.xml"/><Relationship Id="rId55" Type="http://schemas.openxmlformats.org/officeDocument/2006/relationships/image" Target="../media/image10.emf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33" Type="http://schemas.openxmlformats.org/officeDocument/2006/relationships/tags" Target="../tags/tag77.xml"/><Relationship Id="rId38" Type="http://schemas.openxmlformats.org/officeDocument/2006/relationships/tags" Target="../tags/tag82.xml"/><Relationship Id="rId46" Type="http://schemas.openxmlformats.org/officeDocument/2006/relationships/tags" Target="../tags/tag90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29" Type="http://schemas.openxmlformats.org/officeDocument/2006/relationships/tags" Target="../tags/tag73.xml"/><Relationship Id="rId41" Type="http://schemas.openxmlformats.org/officeDocument/2006/relationships/tags" Target="../tags/tag85.xml"/><Relationship Id="rId54" Type="http://schemas.openxmlformats.org/officeDocument/2006/relationships/oleObject" Target="../embeddings/oleObject12.bin"/><Relationship Id="rId1" Type="http://schemas.openxmlformats.org/officeDocument/2006/relationships/vmlDrawing" Target="../drawings/vmlDrawing6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tags" Target="../tags/tag76.xml"/><Relationship Id="rId37" Type="http://schemas.openxmlformats.org/officeDocument/2006/relationships/tags" Target="../tags/tag81.xml"/><Relationship Id="rId40" Type="http://schemas.openxmlformats.org/officeDocument/2006/relationships/tags" Target="../tags/tag84.xml"/><Relationship Id="rId45" Type="http://schemas.openxmlformats.org/officeDocument/2006/relationships/tags" Target="../tags/tag89.xml"/><Relationship Id="rId53" Type="http://schemas.openxmlformats.org/officeDocument/2006/relationships/image" Target="../media/image1.emf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36" Type="http://schemas.openxmlformats.org/officeDocument/2006/relationships/tags" Target="../tags/tag80.xml"/><Relationship Id="rId49" Type="http://schemas.openxmlformats.org/officeDocument/2006/relationships/tags" Target="../tags/tag93.xml"/><Relationship Id="rId57" Type="http://schemas.openxmlformats.org/officeDocument/2006/relationships/image" Target="../media/image11.emf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tags" Target="../tags/tag75.xml"/><Relationship Id="rId44" Type="http://schemas.openxmlformats.org/officeDocument/2006/relationships/tags" Target="../tags/tag88.xml"/><Relationship Id="rId52" Type="http://schemas.openxmlformats.org/officeDocument/2006/relationships/oleObject" Target="../embeddings/oleObject11.bin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Relationship Id="rId35" Type="http://schemas.openxmlformats.org/officeDocument/2006/relationships/tags" Target="../tags/tag79.xml"/><Relationship Id="rId43" Type="http://schemas.openxmlformats.org/officeDocument/2006/relationships/tags" Target="../tags/tag87.xml"/><Relationship Id="rId48" Type="http://schemas.openxmlformats.org/officeDocument/2006/relationships/tags" Target="../tags/tag92.xml"/><Relationship Id="rId56" Type="http://schemas.openxmlformats.org/officeDocument/2006/relationships/oleObject" Target="../embeddings/oleObject13.bin"/><Relationship Id="rId8" Type="http://schemas.openxmlformats.org/officeDocument/2006/relationships/tags" Target="../tags/tag52.xml"/><Relationship Id="rId51" Type="http://schemas.openxmlformats.org/officeDocument/2006/relationships/notesSlide" Target="../notesSlides/notesSlide2.xml"/><Relationship Id="rId3" Type="http://schemas.openxmlformats.org/officeDocument/2006/relationships/tags" Target="../tags/tag4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26" Type="http://schemas.openxmlformats.org/officeDocument/2006/relationships/tags" Target="../tags/tag118.xml"/><Relationship Id="rId39" Type="http://schemas.openxmlformats.org/officeDocument/2006/relationships/slideLayout" Target="../slideLayouts/slideLayout3.xml"/><Relationship Id="rId3" Type="http://schemas.openxmlformats.org/officeDocument/2006/relationships/tags" Target="../tags/tag95.xml"/><Relationship Id="rId21" Type="http://schemas.openxmlformats.org/officeDocument/2006/relationships/tags" Target="../tags/tag113.xml"/><Relationship Id="rId34" Type="http://schemas.openxmlformats.org/officeDocument/2006/relationships/tags" Target="../tags/tag126.xml"/><Relationship Id="rId42" Type="http://schemas.openxmlformats.org/officeDocument/2006/relationships/image" Target="../media/image1.emf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tags" Target="../tags/tag117.xml"/><Relationship Id="rId33" Type="http://schemas.openxmlformats.org/officeDocument/2006/relationships/tags" Target="../tags/tag125.xml"/><Relationship Id="rId38" Type="http://schemas.openxmlformats.org/officeDocument/2006/relationships/tags" Target="../tags/tag130.xml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0" Type="http://schemas.openxmlformats.org/officeDocument/2006/relationships/tags" Target="../tags/tag112.xml"/><Relationship Id="rId29" Type="http://schemas.openxmlformats.org/officeDocument/2006/relationships/tags" Target="../tags/tag121.xml"/><Relationship Id="rId41" Type="http://schemas.openxmlformats.org/officeDocument/2006/relationships/oleObject" Target="../embeddings/oleObject14.bin"/><Relationship Id="rId1" Type="http://schemas.openxmlformats.org/officeDocument/2006/relationships/vmlDrawing" Target="../drawings/vmlDrawing7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24" Type="http://schemas.openxmlformats.org/officeDocument/2006/relationships/tags" Target="../tags/tag116.xml"/><Relationship Id="rId32" Type="http://schemas.openxmlformats.org/officeDocument/2006/relationships/tags" Target="../tags/tag124.xml"/><Relationship Id="rId37" Type="http://schemas.openxmlformats.org/officeDocument/2006/relationships/tags" Target="../tags/tag129.xml"/><Relationship Id="rId40" Type="http://schemas.openxmlformats.org/officeDocument/2006/relationships/notesSlide" Target="../notesSlides/notesSlide3.xml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28" Type="http://schemas.openxmlformats.org/officeDocument/2006/relationships/tags" Target="../tags/tag120.xml"/><Relationship Id="rId36" Type="http://schemas.openxmlformats.org/officeDocument/2006/relationships/tags" Target="../tags/tag128.xml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31" Type="http://schemas.openxmlformats.org/officeDocument/2006/relationships/tags" Target="../tags/tag123.xml"/><Relationship Id="rId44" Type="http://schemas.openxmlformats.org/officeDocument/2006/relationships/image" Target="../media/image12.emf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tags" Target="../tags/tag114.xml"/><Relationship Id="rId27" Type="http://schemas.openxmlformats.org/officeDocument/2006/relationships/tags" Target="../tags/tag119.xml"/><Relationship Id="rId30" Type="http://schemas.openxmlformats.org/officeDocument/2006/relationships/tags" Target="../tags/tag122.xml"/><Relationship Id="rId35" Type="http://schemas.openxmlformats.org/officeDocument/2006/relationships/tags" Target="../tags/tag127.xml"/><Relationship Id="rId43" Type="http://schemas.openxmlformats.org/officeDocument/2006/relationships/oleObject" Target="../embeddings/oleObject1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42.xml"/><Relationship Id="rId18" Type="http://schemas.openxmlformats.org/officeDocument/2006/relationships/tags" Target="../tags/tag147.xml"/><Relationship Id="rId26" Type="http://schemas.openxmlformats.org/officeDocument/2006/relationships/tags" Target="../tags/tag155.xml"/><Relationship Id="rId39" Type="http://schemas.openxmlformats.org/officeDocument/2006/relationships/tags" Target="../tags/tag168.xml"/><Relationship Id="rId3" Type="http://schemas.openxmlformats.org/officeDocument/2006/relationships/tags" Target="../tags/tag132.xml"/><Relationship Id="rId21" Type="http://schemas.openxmlformats.org/officeDocument/2006/relationships/tags" Target="../tags/tag150.xml"/><Relationship Id="rId34" Type="http://schemas.openxmlformats.org/officeDocument/2006/relationships/tags" Target="../tags/tag163.xml"/><Relationship Id="rId42" Type="http://schemas.openxmlformats.org/officeDocument/2006/relationships/oleObject" Target="../embeddings/oleObject16.bin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17" Type="http://schemas.openxmlformats.org/officeDocument/2006/relationships/tags" Target="../tags/tag146.xml"/><Relationship Id="rId25" Type="http://schemas.openxmlformats.org/officeDocument/2006/relationships/tags" Target="../tags/tag154.xml"/><Relationship Id="rId33" Type="http://schemas.openxmlformats.org/officeDocument/2006/relationships/tags" Target="../tags/tag162.xml"/><Relationship Id="rId38" Type="http://schemas.openxmlformats.org/officeDocument/2006/relationships/tags" Target="../tags/tag167.xml"/><Relationship Id="rId2" Type="http://schemas.openxmlformats.org/officeDocument/2006/relationships/tags" Target="../tags/tag131.xml"/><Relationship Id="rId16" Type="http://schemas.openxmlformats.org/officeDocument/2006/relationships/tags" Target="../tags/tag145.xml"/><Relationship Id="rId20" Type="http://schemas.openxmlformats.org/officeDocument/2006/relationships/tags" Target="../tags/tag149.xml"/><Relationship Id="rId29" Type="http://schemas.openxmlformats.org/officeDocument/2006/relationships/tags" Target="../tags/tag158.xml"/><Relationship Id="rId41" Type="http://schemas.openxmlformats.org/officeDocument/2006/relationships/notesSlide" Target="../notesSlides/notesSlide4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24" Type="http://schemas.openxmlformats.org/officeDocument/2006/relationships/tags" Target="../tags/tag153.xml"/><Relationship Id="rId32" Type="http://schemas.openxmlformats.org/officeDocument/2006/relationships/tags" Target="../tags/tag161.xml"/><Relationship Id="rId37" Type="http://schemas.openxmlformats.org/officeDocument/2006/relationships/tags" Target="../tags/tag166.xml"/><Relationship Id="rId40" Type="http://schemas.openxmlformats.org/officeDocument/2006/relationships/slideLayout" Target="../slideLayouts/slideLayout3.xml"/><Relationship Id="rId45" Type="http://schemas.openxmlformats.org/officeDocument/2006/relationships/image" Target="../media/image13.emf"/><Relationship Id="rId5" Type="http://schemas.openxmlformats.org/officeDocument/2006/relationships/tags" Target="../tags/tag134.xml"/><Relationship Id="rId15" Type="http://schemas.openxmlformats.org/officeDocument/2006/relationships/tags" Target="../tags/tag144.xml"/><Relationship Id="rId23" Type="http://schemas.openxmlformats.org/officeDocument/2006/relationships/tags" Target="../tags/tag152.xml"/><Relationship Id="rId28" Type="http://schemas.openxmlformats.org/officeDocument/2006/relationships/tags" Target="../tags/tag157.xml"/><Relationship Id="rId36" Type="http://schemas.openxmlformats.org/officeDocument/2006/relationships/tags" Target="../tags/tag165.xml"/><Relationship Id="rId10" Type="http://schemas.openxmlformats.org/officeDocument/2006/relationships/tags" Target="../tags/tag139.xml"/><Relationship Id="rId19" Type="http://schemas.openxmlformats.org/officeDocument/2006/relationships/tags" Target="../tags/tag148.xml"/><Relationship Id="rId31" Type="http://schemas.openxmlformats.org/officeDocument/2006/relationships/tags" Target="../tags/tag160.xml"/><Relationship Id="rId44" Type="http://schemas.openxmlformats.org/officeDocument/2006/relationships/oleObject" Target="../embeddings/oleObject17.bin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tags" Target="../tags/tag143.xml"/><Relationship Id="rId22" Type="http://schemas.openxmlformats.org/officeDocument/2006/relationships/tags" Target="../tags/tag151.xml"/><Relationship Id="rId27" Type="http://schemas.openxmlformats.org/officeDocument/2006/relationships/tags" Target="../tags/tag156.xml"/><Relationship Id="rId30" Type="http://schemas.openxmlformats.org/officeDocument/2006/relationships/tags" Target="../tags/tag159.xml"/><Relationship Id="rId35" Type="http://schemas.openxmlformats.org/officeDocument/2006/relationships/tags" Target="../tags/tag164.xml"/><Relationship Id="rId43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tags" Target="../tags/tag180.xml"/><Relationship Id="rId18" Type="http://schemas.openxmlformats.org/officeDocument/2006/relationships/notesSlide" Target="../notesSlides/notesSlide5.xml"/><Relationship Id="rId3" Type="http://schemas.openxmlformats.org/officeDocument/2006/relationships/tags" Target="../tags/tag170.xml"/><Relationship Id="rId21" Type="http://schemas.openxmlformats.org/officeDocument/2006/relationships/oleObject" Target="../embeddings/oleObject19.bin"/><Relationship Id="rId7" Type="http://schemas.openxmlformats.org/officeDocument/2006/relationships/tags" Target="../tags/tag174.xml"/><Relationship Id="rId12" Type="http://schemas.openxmlformats.org/officeDocument/2006/relationships/tags" Target="../tags/tag179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169.xml"/><Relationship Id="rId16" Type="http://schemas.openxmlformats.org/officeDocument/2006/relationships/tags" Target="../tags/tag183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5" Type="http://schemas.openxmlformats.org/officeDocument/2006/relationships/tags" Target="../tags/tag172.xml"/><Relationship Id="rId15" Type="http://schemas.openxmlformats.org/officeDocument/2006/relationships/tags" Target="../tags/tag182.xml"/><Relationship Id="rId10" Type="http://schemas.openxmlformats.org/officeDocument/2006/relationships/tags" Target="../tags/tag177.xml"/><Relationship Id="rId19" Type="http://schemas.openxmlformats.org/officeDocument/2006/relationships/oleObject" Target="../embeddings/oleObject18.bin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tags" Target="../tags/tag181.xml"/><Relationship Id="rId22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9" name="Objekt 1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381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31" name="think-cell Folie" r:id="rId45" imgW="136" imgH="136" progId="TCLayout.ActiveDocument.1">
                  <p:embed/>
                </p:oleObj>
              </mc:Choice>
              <mc:Fallback>
                <p:oleObj name="think-cell Folie" r:id="rId4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" name="Rechteck 154" hidden="1"/>
          <p:cNvSpPr/>
          <p:nvPr>
            <p:custDataLst>
              <p:tags r:id="rId3"/>
            </p:custDataLst>
          </p:nvPr>
        </p:nvSpPr>
        <p:spPr bwMode="auto">
          <a:xfrm>
            <a:off x="-525919" y="0"/>
            <a:ext cx="1210588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kumimoji="0" lang="en-US" sz="1200" u="none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Der </a:t>
            </a:r>
            <a:r>
              <a:rPr lang="de-DE" dirty="0"/>
              <a:t>Wettbewerbsdruck im Großanlagenbau hat zugenomm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0000"/>
                </a:solidFill>
                <a:latin typeface="Arial"/>
              </a:rPr>
              <a:t>Allgemeiner Wettbewerbsdruck</a:t>
            </a:r>
            <a:endParaRPr lang="de-DE" sz="16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de-DE" sz="1200" smtClean="0">
                <a:solidFill>
                  <a:schemeClr val="accent1"/>
                </a:solidFill>
              </a:rPr>
              <a:t>Arbeitsgemeinschaft Großanlagenbau</a:t>
            </a:r>
            <a:endParaRPr lang="en-US" altLang="de-DE" sz="1200" smtClean="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Seite </a:t>
            </a:r>
            <a:fld id="{F25E6A0E-1702-4519-BCA5-3343E84E9ABE}" type="slidenum">
              <a:rPr lang="en-US" altLang="de-DE" smtClean="0"/>
              <a:pPr>
                <a:defRPr/>
              </a:pPr>
              <a:t>1</a:t>
            </a:fld>
            <a:r>
              <a:rPr lang="en-US" altLang="de-DE" smtClean="0"/>
              <a:t> • </a:t>
            </a:r>
            <a:fld id="{6F815C9C-F0D6-46C8-B7FA-BCA106B22EDC}" type="datetime1">
              <a:rPr lang="de-DE" smtClean="0"/>
              <a:pPr>
                <a:defRPr/>
              </a:pPr>
              <a:t>13.06.2014</a:t>
            </a:fld>
            <a:endParaRPr lang="en-US" altLang="de-DE"/>
          </a:p>
        </p:txBody>
      </p:sp>
      <p:graphicFrame>
        <p:nvGraphicFramePr>
          <p:cNvPr id="20" name="Objekt 19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06465128"/>
              </p:ext>
            </p:extLst>
          </p:nvPr>
        </p:nvGraphicFramePr>
        <p:xfrm>
          <a:off x="2438400" y="1866901"/>
          <a:ext cx="1990670" cy="3447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32" name="Diagramm" r:id="rId47" imgW="1990670" imgH="3447999" progId="MSGraph.Chart.8">
                  <p:embed followColorScheme="full"/>
                </p:oleObj>
              </mc:Choice>
              <mc:Fallback>
                <p:oleObj name="Diagramm" r:id="rId47" imgW="1990670" imgH="3447999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8400" y="1866901"/>
                        <a:ext cx="1990670" cy="34479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159125" y="5302250"/>
            <a:ext cx="569913" cy="3302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ts val="0"/>
              </a:spcAft>
            </a:pPr>
            <a:fld id="{ED7F3A67-0171-4E4A-8984-82B182D4536A}" type="datetime'N''ä''c''hs''t''''''''e''''&#10;''5'' ''J''a''''''''''''''hre'">
              <a:rPr lang="en-US" sz="1200" b="0"/>
              <a:pPr/>
              <a:t>Nächste
5 Jahre</a:t>
            </a:fld>
            <a:endParaRPr lang="de-DE" sz="12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26" name="Textplatzhalt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28975" y="1782763"/>
            <a:ext cx="430213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20000"/>
              </a:spcAft>
            </a:pPr>
            <a:fld id="{BD3A9208-9FC5-4DD3-95A0-08EE53BE61C7}" type="datetime'''''''''''''''''''1''0''0'''''''''' ''''''''''''''''''%'''''''">
              <a:rPr lang="en-US" sz="1200"/>
              <a:pPr/>
              <a:t>100 %</a:t>
            </a:fld>
            <a:endParaRPr lang="de-DE" sz="12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47" name="Textplatzhalter 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244850" y="4562475"/>
            <a:ext cx="396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9F64253-87D4-4C95-B84B-D991FBF90FEF}" type="datetime'''''3''2'''''''''''''''''''' ''''''%'''''">
              <a:rPr lang="en-US" sz="1200" b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32 %</a:t>
            </a:fld>
            <a:endParaRPr lang="de-DE" sz="1200" b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9" name="Textplatzhalter 6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244850" y="3024188"/>
            <a:ext cx="396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F334ABE-F714-47C5-A59A-8772F1803A85}" type="datetime'''''6''''''''''''''5'' ''%'''''''''''''''''''''">
              <a:rPr lang="en-US" sz="1200" b="0">
                <a:latin typeface="Arial"/>
                <a:cs typeface="Arial"/>
                <a:sym typeface="Arial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65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58" name="Textplatzhalter 5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287713" y="1947863"/>
            <a:ext cx="312738" cy="182563"/>
          </a:xfrm>
          <a:prstGeom prst="rect">
            <a:avLst/>
          </a:prstGeom>
          <a:solidFill>
            <a:srgbClr val="4C9BDC"/>
          </a:solidFill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E9FB3D4-99CA-4406-AEFF-BDC46039253F}" type="datetime'3'' ''''''''''''''''''''''''''''%'">
              <a:rPr lang="en-US" sz="1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3 %</a:t>
            </a:fld>
            <a:endParaRPr lang="en-US" sz="1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4" name="Gerade Verbindung 13"/>
          <p:cNvCxnSpPr/>
          <p:nvPr>
            <p:custDataLst>
              <p:tags r:id="rId10"/>
            </p:custDataLst>
          </p:nvPr>
        </p:nvCxnSpPr>
        <p:spPr bwMode="auto">
          <a:xfrm>
            <a:off x="1866900" y="1990725"/>
            <a:ext cx="113347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16"/>
          <p:cNvCxnSpPr/>
          <p:nvPr>
            <p:custDataLst>
              <p:tags r:id="rId11"/>
            </p:custDataLst>
          </p:nvPr>
        </p:nvCxnSpPr>
        <p:spPr bwMode="auto">
          <a:xfrm flipV="1">
            <a:off x="1866900" y="2085975"/>
            <a:ext cx="1133475" cy="16192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17"/>
          <p:cNvCxnSpPr/>
          <p:nvPr>
            <p:custDataLst>
              <p:tags r:id="rId12"/>
            </p:custDataLst>
          </p:nvPr>
        </p:nvCxnSpPr>
        <p:spPr bwMode="auto">
          <a:xfrm flipV="1">
            <a:off x="1866900" y="4143375"/>
            <a:ext cx="1133475" cy="35242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Rechteck 30"/>
          <p:cNvSpPr/>
          <p:nvPr>
            <p:custDataLst>
              <p:tags r:id="rId13"/>
            </p:custDataLst>
          </p:nvPr>
        </p:nvSpPr>
        <p:spPr bwMode="auto">
          <a:xfrm>
            <a:off x="3022600" y="6354763"/>
            <a:ext cx="179387" cy="1333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32" name="Rechteck 31"/>
          <p:cNvSpPr/>
          <p:nvPr>
            <p:custDataLst>
              <p:tags r:id="rId14"/>
            </p:custDataLst>
          </p:nvPr>
        </p:nvSpPr>
        <p:spPr bwMode="auto">
          <a:xfrm>
            <a:off x="2241550" y="6354763"/>
            <a:ext cx="179387" cy="133350"/>
          </a:xfrm>
          <a:prstGeom prst="rect">
            <a:avLst/>
          </a:prstGeom>
          <a:solidFill>
            <a:srgbClr val="BFBFB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>
            <p:custDataLst>
              <p:tags r:id="rId15"/>
            </p:custDataLst>
          </p:nvPr>
        </p:nvSpPr>
        <p:spPr bwMode="auto">
          <a:xfrm>
            <a:off x="1397000" y="6354763"/>
            <a:ext cx="179387" cy="133350"/>
          </a:xfrm>
          <a:prstGeom prst="rect">
            <a:avLst/>
          </a:prstGeom>
          <a:solidFill>
            <a:srgbClr val="4C9BDC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/>
          <p:nvPr>
            <p:custDataLst>
              <p:tags r:id="rId16"/>
            </p:custDataLst>
          </p:nvPr>
        </p:nvSpPr>
        <p:spPr bwMode="auto">
          <a:xfrm>
            <a:off x="552450" y="6354763"/>
            <a:ext cx="179387" cy="133350"/>
          </a:xfrm>
          <a:prstGeom prst="rect">
            <a:avLst/>
          </a:prstGeom>
          <a:solidFill>
            <a:srgbClr val="A5CCED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36" name="Textplatzhalt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471738" y="6351588"/>
            <a:ext cx="449263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20000"/>
              </a:spcAft>
            </a:pPr>
            <a:fld id="{1D25CA97-42C9-443C-8B19-330FEF5894A7}" type="datetime'''''S''''p''''''ü''r''''b''''''''''''''''''''''a''r'''''''''''">
              <a:rPr lang="en-US" sz="1000" b="0">
                <a:solidFill>
                  <a:schemeClr val="tx2"/>
                </a:solidFill>
              </a:rPr>
              <a:pPr/>
              <a:t>Spürbar</a:t>
            </a:fld>
            <a:endParaRPr lang="de-DE" sz="1000" b="0" dirty="0" smtClea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Textplatzhalt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252788" y="6351588"/>
            <a:ext cx="576263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20000"/>
              </a:spcAft>
            </a:pPr>
            <a:fld id="{5C458E87-77BF-49A7-B55A-68A73F989413}" type="datetime'S''''e''h''r s''t''''ar''''''''''k'''''''''''''''''''">
              <a:rPr lang="en-US" sz="1000" b="0">
                <a:solidFill>
                  <a:schemeClr val="tx2"/>
                </a:solidFill>
              </a:rPr>
              <a:pPr/>
              <a:t>Sehr stark</a:t>
            </a:fld>
            <a:endParaRPr lang="de-DE" sz="1000" b="0" dirty="0" smtClea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Textplatzhalt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627188" y="6351588"/>
            <a:ext cx="512763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20000"/>
              </a:spcAft>
            </a:pPr>
            <a:fld id="{DF0F33D1-4B0A-48AE-B8C7-D72706926BF9}" type="datetime'''''Sc''''h''''''''''''''''''''''''''w''''''''''ac''''''''h'">
              <a:rPr lang="en-US" sz="1000" b="0">
                <a:solidFill>
                  <a:schemeClr val="tx2"/>
                </a:solidFill>
              </a:rPr>
              <a:pPr/>
              <a:t>Schwach</a:t>
            </a:fld>
            <a:endParaRPr lang="de-DE" sz="1000" b="0" dirty="0" smtClea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8" name="Textplatzhalt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82638" y="6351588"/>
            <a:ext cx="512763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20000"/>
              </a:spcAft>
            </a:pPr>
            <a:fld id="{966DB81A-1537-4C10-B7E7-28519139EF3C}" type="datetime'''''G''''''''''''''''''a''r ''n''''''i''''''''''ch''''t'''">
              <a:rPr lang="en-US" sz="1000" b="0">
                <a:solidFill>
                  <a:schemeClr val="tx2"/>
                </a:solidFill>
              </a:rPr>
              <a:pPr/>
              <a:t>Gar nicht</a:t>
            </a:fld>
            <a:endParaRPr lang="de-DE" sz="1000" b="0" dirty="0" smtClea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39" name="Objekt 38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219151120"/>
              </p:ext>
            </p:extLst>
          </p:nvPr>
        </p:nvGraphicFramePr>
        <p:xfrm>
          <a:off x="495300" y="1866901"/>
          <a:ext cx="1847921" cy="3447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33" name="Diagramm" r:id="rId49" imgW="1847921" imgH="3447999" progId="MSGraph.Chart.8">
                  <p:embed followColorScheme="full"/>
                </p:oleObj>
              </mc:Choice>
              <mc:Fallback>
                <p:oleObj name="Diagramm" r:id="rId49" imgW="1847921" imgH="3447999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300" y="1866901"/>
                        <a:ext cx="1847921" cy="34479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platzhalt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165225" y="5302250"/>
            <a:ext cx="519113" cy="3302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ts val="0"/>
              </a:spcAft>
            </a:pPr>
            <a:fld id="{4BC5F99B-BC4F-49DC-967E-135F97A83120}" type="datetime'L''e''''t''zt''e''''''''&#10;''''''''''''''3 J''''''''ah''''r''e'">
              <a:rPr lang="en-US" sz="1200" b="0"/>
              <a:pPr/>
              <a:t>Letzte
3 Jahre</a:t>
            </a:fld>
            <a:endParaRPr lang="de-DE" sz="12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41" name="Textplatzhalt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209675" y="1800225"/>
            <a:ext cx="430213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20000"/>
              </a:spcAft>
            </a:pPr>
            <a:fld id="{3B050AEF-F6C3-45C6-8F6D-3E988D6C0F87}" type="datetime'''''''''''''''''''''''''''''1''0''''''''''''0 ''''''%'''''''''">
              <a:rPr lang="en-US" sz="1200"/>
              <a:pPr/>
              <a:t>100 %</a:t>
            </a:fld>
            <a:endParaRPr lang="de-DE" sz="12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62" name="Textplatzhalter 11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225550" y="4738688"/>
            <a:ext cx="396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96DBFD0B-51DA-48AD-A12D-420CD76F5B4B}" type="datetime'''2''''''''''''''''1'''' %'''''''''''''''''''''''''''''''''''">
              <a:rPr lang="en-US" sz="1200" b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21 %</a:t>
            </a:fld>
            <a:endParaRPr lang="de-DE" sz="1200" b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3" name="Textplatzhalter 1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225550" y="3281363"/>
            <a:ext cx="396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CBE25EB-1A29-4D1A-A2F7-151310DDB0B9}" type="datetime'''''''''7''''''''''1'''''''''''''''''' ''%'''">
              <a:rPr lang="en-US" sz="1200" b="0">
                <a:latin typeface="Arial"/>
                <a:cs typeface="Arial"/>
                <a:sym typeface="Arial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71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64" name="Textplatzhalter 1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268413" y="2028825"/>
            <a:ext cx="3127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14D640A-B6A5-4892-8EB8-FB5F619C76D7}" type="datetime'''8'''''''''''''''''''''''''''''''''''''''''' %'''''''''''">
              <a:rPr lang="en-US" sz="1200" b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8 %</a:t>
            </a:fld>
            <a:endParaRPr lang="de-DE" sz="1200" b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1864940" y="5959483"/>
            <a:ext cx="1039067" cy="240066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de-DE" sz="1200" dirty="0" smtClean="0">
                <a:solidFill>
                  <a:schemeClr val="tx1"/>
                </a:solidFill>
              </a:rPr>
              <a:t>Studie 2012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0" name="Geschweifte Klammer rechts 49"/>
          <p:cNvSpPr/>
          <p:nvPr/>
        </p:nvSpPr>
        <p:spPr>
          <a:xfrm rot="5400000">
            <a:off x="2222574" y="4060478"/>
            <a:ext cx="323799" cy="3366939"/>
          </a:xfrm>
          <a:prstGeom prst="rightBrace">
            <a:avLst>
              <a:gd name="adj1" fmla="val 0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53" name="Objekt 52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212643458"/>
              </p:ext>
            </p:extLst>
          </p:nvPr>
        </p:nvGraphicFramePr>
        <p:xfrm>
          <a:off x="4495799" y="1866901"/>
          <a:ext cx="2019274" cy="3447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34" name="Diagramm" r:id="rId51" imgW="2019274" imgH="3447999" progId="MSGraph.Chart.8">
                  <p:embed followColorScheme="full"/>
                </p:oleObj>
              </mc:Choice>
              <mc:Fallback>
                <p:oleObj name="Diagramm" r:id="rId51" imgW="2019274" imgH="3447999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95799" y="1866901"/>
                        <a:ext cx="2019274" cy="34479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Textplatzhalt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256213" y="5302250"/>
            <a:ext cx="519113" cy="3302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ts val="0"/>
              </a:spcAft>
            </a:pPr>
            <a:fld id="{0F64BB49-EDBC-424F-97D1-FCDA2BBC3ED1}" type="datetime'''Let''''z''te''''&#10;''''3 J''a''h''''r''''''''''''''''''e'">
              <a:rPr lang="en-US" sz="1200" b="0"/>
              <a:pPr/>
              <a:t>Letzte
3 Jahre</a:t>
            </a:fld>
            <a:endParaRPr lang="de-DE" sz="12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56" name="Textplatzhalt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300663" y="1800225"/>
            <a:ext cx="430213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20000"/>
              </a:spcAft>
            </a:pPr>
            <a:fld id="{EB76AFE5-E095-44E1-8464-5A05BDBCBF7A}" type="datetime'''''''''''1''''''''''''''''0''''''''''''''''''''''0'' %'''''">
              <a:rPr lang="en-US" sz="1200"/>
              <a:pPr/>
              <a:t>100 %</a:t>
            </a:fld>
            <a:endParaRPr lang="de-DE" sz="12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66" name="Textplatzhalter 6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316538" y="4595813"/>
            <a:ext cx="396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33A230B-D241-4C4E-8F60-FEFB0B72C9E5}" type="datetime'''3''0'''''''' ''''''''''''%'''''''''''''''''''">
              <a:rPr lang="en-US" sz="1200" b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30 %</a:t>
            </a:fld>
            <a:endParaRPr lang="en-US" sz="1200" b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7" name="Textplatzhalter 7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316538" y="3167063"/>
            <a:ext cx="396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949F9361-879C-46E8-BEA4-15990B53180C}" type="datetime'''''''6''0 %'''''">
              <a:rPr lang="en-US" sz="1200" b="0">
                <a:latin typeface="Arial"/>
                <a:cs typeface="Arial"/>
                <a:sym typeface="Arial"/>
              </a:rPr>
              <a:pPr/>
              <a:t>60 %</a:t>
            </a:fld>
            <a:endParaRPr lang="en-US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77" name="Textplatzhalter 18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316538" y="2057400"/>
            <a:ext cx="396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325F1B4-2C25-4D7D-85C7-8EFFFEA85801}" type="datetime'''''10'''''''''''''''' ''''''''''''''''%'''">
              <a:rPr lang="en-US" sz="1200" b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10 %</a:t>
            </a:fld>
            <a:endParaRPr lang="de-DE" sz="1200" b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11" name="Gerade Verbindung 10"/>
          <p:cNvCxnSpPr/>
          <p:nvPr>
            <p:custDataLst>
              <p:tags r:id="rId33"/>
            </p:custDataLst>
          </p:nvPr>
        </p:nvCxnSpPr>
        <p:spPr bwMode="auto">
          <a:xfrm>
            <a:off x="5962650" y="2305051"/>
            <a:ext cx="1190625" cy="16192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Gerade Verbindung 11"/>
          <p:cNvCxnSpPr/>
          <p:nvPr>
            <p:custDataLst>
              <p:tags r:id="rId34"/>
            </p:custDataLst>
          </p:nvPr>
        </p:nvCxnSpPr>
        <p:spPr bwMode="auto">
          <a:xfrm>
            <a:off x="5962650" y="4210050"/>
            <a:ext cx="1190625" cy="1905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20"/>
          <p:cNvCxnSpPr/>
          <p:nvPr>
            <p:custDataLst>
              <p:tags r:id="rId35"/>
            </p:custDataLst>
          </p:nvPr>
        </p:nvCxnSpPr>
        <p:spPr bwMode="auto">
          <a:xfrm>
            <a:off x="5962650" y="1990725"/>
            <a:ext cx="119062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69" name="Objekt 68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16445376"/>
              </p:ext>
            </p:extLst>
          </p:nvPr>
        </p:nvGraphicFramePr>
        <p:xfrm>
          <a:off x="6591300" y="1866901"/>
          <a:ext cx="2000385" cy="3447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35" name="Diagramm" r:id="rId53" imgW="2000385" imgH="3447999" progId="MSGraph.Chart.8">
                  <p:embed followColorScheme="full"/>
                </p:oleObj>
              </mc:Choice>
              <mc:Fallback>
                <p:oleObj name="Diagramm" r:id="rId53" imgW="2000385" imgH="3447999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91300" y="1866901"/>
                        <a:ext cx="2000385" cy="34479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Textplatzhalt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316788" y="5302250"/>
            <a:ext cx="569913" cy="3302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ts val="0"/>
              </a:spcAft>
            </a:pPr>
            <a:fld id="{1F26CCB5-39BD-4A6A-A75A-CAE9C4E4647A}" type="datetime'Nä''chst''''''e&#10;3'' J''a''hre'''''''">
              <a:rPr lang="en-US" sz="1200" b="0"/>
              <a:pPr/>
              <a:t>Nächste
3 Jahre</a:t>
            </a:fld>
            <a:endParaRPr lang="de-DE" sz="12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74" name="Textplatzhalt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386638" y="1782763"/>
            <a:ext cx="430213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20000"/>
              </a:spcAft>
            </a:pPr>
            <a:fld id="{840DF084-C96E-4FF0-A37C-E5FFC26B1C45}" type="datetime'1''0''''0'' ''''''''''''''''''''''''''''''%'''''''''">
              <a:rPr lang="en-US" sz="1200"/>
              <a:pPr/>
              <a:t>100 %</a:t>
            </a:fld>
            <a:endParaRPr lang="de-DE" sz="12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52" name="Textplatzhalter 5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402513" y="4691063"/>
            <a:ext cx="396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1CD1E55-B03E-46E5-9219-2D7490FAE10E}" type="datetime'''2''''''''''''''''''4'''''''''' %'''''''''''">
              <a:rPr lang="en-US" sz="1200" b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24 %</a:t>
            </a:fld>
            <a:endParaRPr lang="de-DE" sz="1200" b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4" name="Textplatzhalter 6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402513" y="3343275"/>
            <a:ext cx="396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D21A8B3-0247-4F99-8CDB-9DD796597179}" type="datetime'''''6''1'''''' ''''''%'''''''">
              <a:rPr lang="en-US" sz="1200" b="0">
                <a:latin typeface="Arial"/>
                <a:cs typeface="Arial"/>
                <a:sym typeface="Arial"/>
              </a:rPr>
              <a:pPr/>
              <a:t>61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55" name="Textplatzhalter 7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402513" y="2185988"/>
            <a:ext cx="396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B34FDAB-B427-4BB9-9643-7D73AEB0E068}" type="datetime'''''''''''''''''''''1''''2'''' %'">
              <a:rPr lang="en-US" sz="1200" b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12 %</a:t>
            </a:fld>
            <a:endParaRPr lang="de-DE" sz="1200" b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2" name="Textplatzhalter 23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445375" y="1947863"/>
            <a:ext cx="312738" cy="182563"/>
          </a:xfrm>
          <a:prstGeom prst="rect">
            <a:avLst/>
          </a:prstGeom>
          <a:solidFill>
            <a:srgbClr val="A5CCED"/>
          </a:solidFill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2ED34EB-2E6D-47EF-88EE-BFCF0C4305DE}" type="datetime'''''''''''''''''''''''''''''3 ''''''''''''''''%'''">
              <a:rPr lang="en-US" sz="1200" b="0">
                <a:latin typeface="Arial"/>
                <a:cs typeface="Arial"/>
                <a:sym typeface="Arial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3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6031784" y="5959483"/>
            <a:ext cx="1039067" cy="240066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de-DE" sz="1200" dirty="0" smtClean="0">
                <a:solidFill>
                  <a:schemeClr val="tx1"/>
                </a:solidFill>
              </a:rPr>
              <a:t>Studie 2014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6" name="Geschweifte Klammer rechts 75"/>
          <p:cNvSpPr/>
          <p:nvPr/>
        </p:nvSpPr>
        <p:spPr>
          <a:xfrm rot="5400000">
            <a:off x="6389688" y="3800140"/>
            <a:ext cx="323850" cy="3846761"/>
          </a:xfrm>
          <a:prstGeom prst="rightBrace">
            <a:avLst>
              <a:gd name="adj1" fmla="val 0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644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9" name="Objekt 1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1200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40" name="think-cell Folie" r:id="rId52" imgW="136" imgH="136" progId="TCLayout.ActiveDocument.1">
                  <p:embed/>
                </p:oleObj>
              </mc:Choice>
              <mc:Fallback>
                <p:oleObj name="think-cell Folie" r:id="rId52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" name="Rechteck 154" hidden="1"/>
          <p:cNvSpPr/>
          <p:nvPr>
            <p:custDataLst>
              <p:tags r:id="rId3"/>
            </p:custDataLst>
          </p:nvPr>
        </p:nvSpPr>
        <p:spPr bwMode="auto">
          <a:xfrm>
            <a:off x="-525919" y="0"/>
            <a:ext cx="1210588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kumimoji="0" lang="en-US" sz="1200" b="0" u="none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7" name="Rectangle 28"/>
          <p:cNvSpPr>
            <a:spLocks noChangeArrowheads="1"/>
          </p:cNvSpPr>
          <p:nvPr/>
        </p:nvSpPr>
        <p:spPr bwMode="auto">
          <a:xfrm>
            <a:off x="4660162" y="2093062"/>
            <a:ext cx="3996000" cy="3600000"/>
          </a:xfrm>
          <a:prstGeom prst="rect">
            <a:avLst/>
          </a:prstGeom>
          <a:solidFill>
            <a:srgbClr val="DDDDDD"/>
          </a:solidFill>
          <a:ln w="12700">
            <a:noFill/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0" lvl="1" indent="1588" algn="l">
              <a:lnSpc>
                <a:spcPct val="90000"/>
              </a:lnSpc>
              <a:spcAft>
                <a:spcPct val="20000"/>
              </a:spcAft>
              <a:buClr>
                <a:schemeClr val="tx2"/>
              </a:buClr>
              <a:buSzPct val="80000"/>
            </a:pPr>
            <a:endParaRPr lang="de-DE" sz="1200" dirty="0" smtClean="0"/>
          </a:p>
        </p:txBody>
      </p:sp>
      <p:sp>
        <p:nvSpPr>
          <p:cNvPr id="78" name="Abgerundetes Rechteck 7"/>
          <p:cNvSpPr>
            <a:spLocks noChangeArrowheads="1"/>
          </p:cNvSpPr>
          <p:nvPr/>
        </p:nvSpPr>
        <p:spPr bwMode="gray">
          <a:xfrm>
            <a:off x="500063" y="2093062"/>
            <a:ext cx="3996000" cy="3600000"/>
          </a:xfrm>
          <a:prstGeom prst="rect">
            <a:avLst/>
          </a:prstGeom>
          <a:solidFill>
            <a:srgbClr val="DDDDDD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endParaRPr lang="de-DE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Der </a:t>
            </a:r>
            <a:r>
              <a:rPr lang="de-DE" dirty="0"/>
              <a:t>Wettbewerbsdruck aus China hat weiterhin </a:t>
            </a:r>
            <a:r>
              <a:rPr lang="de-DE" dirty="0" smtClean="0"/>
              <a:t>zugenommen, Südkorea dagegen abgenomm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0000"/>
                </a:solidFill>
                <a:latin typeface="Arial"/>
              </a:rPr>
              <a:t>Wettbewerbsdruck nach Ländern</a:t>
            </a:r>
            <a:endParaRPr lang="de-DE" sz="11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 sz="1200" smtClean="0">
                <a:solidFill>
                  <a:schemeClr val="accent1"/>
                </a:solidFill>
              </a:rPr>
              <a:t>Arbeitsgemeinschaft Großanlagenbau</a:t>
            </a:r>
            <a:endParaRPr lang="de-DE" altLang="de-DE" sz="1200" smtClean="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de-DE" alt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Seite </a:t>
            </a:r>
            <a:fld id="{F25E6A0E-1702-4519-BCA5-3343E84E9ABE}" type="slidenum">
              <a:rPr lang="en-US" altLang="de-DE" smtClean="0"/>
              <a:pPr>
                <a:defRPr/>
              </a:pPr>
              <a:t>2</a:t>
            </a:fld>
            <a:r>
              <a:rPr lang="en-US" altLang="de-DE" smtClean="0"/>
              <a:t> • </a:t>
            </a:r>
            <a:fld id="{6F815C9C-F0D6-46C8-B7FA-BCA106B22EDC}" type="datetime1">
              <a:rPr lang="de-DE" smtClean="0"/>
              <a:pPr>
                <a:defRPr/>
              </a:pPr>
              <a:t>13.06.2014</a:t>
            </a:fld>
            <a:endParaRPr lang="en-US" altLang="de-DE"/>
          </a:p>
        </p:txBody>
      </p:sp>
      <p:grpSp>
        <p:nvGrpSpPr>
          <p:cNvPr id="250" name="Gruppieren 142"/>
          <p:cNvGrpSpPr/>
          <p:nvPr/>
        </p:nvGrpSpPr>
        <p:grpSpPr>
          <a:xfrm>
            <a:off x="4781550" y="2409825"/>
            <a:ext cx="1116000" cy="3132000"/>
            <a:chOff x="5309863" y="2084388"/>
            <a:chExt cx="1443499" cy="3335337"/>
          </a:xfrm>
          <a:solidFill>
            <a:schemeClr val="accent3">
              <a:lumMod val="75000"/>
            </a:schemeClr>
          </a:solidFill>
        </p:grpSpPr>
        <p:sp>
          <p:nvSpPr>
            <p:cNvPr id="251" name="Rectangle 28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5313362" y="2084388"/>
              <a:ext cx="1440000" cy="3335337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90000" tIns="90000" rIns="90000" bIns="90000"/>
            <a:lstStyle/>
            <a:p>
              <a:pPr marL="0" lvl="1" indent="1588" algn="l">
                <a:spcAft>
                  <a:spcPts val="0"/>
                </a:spcAft>
                <a:buClr>
                  <a:schemeClr val="tx2"/>
                </a:buClr>
                <a:buSzPct val="80000"/>
              </a:pPr>
              <a:endParaRPr lang="de-DE" sz="1200" dirty="0" smtClean="0"/>
            </a:p>
          </p:txBody>
        </p:sp>
        <p:cxnSp>
          <p:nvCxnSpPr>
            <p:cNvPr id="252" name="Gerade Verbindung 132"/>
            <p:cNvCxnSpPr>
              <a:cxnSpLocks/>
            </p:cNvCxnSpPr>
            <p:nvPr>
              <p:custDataLst>
                <p:tags r:id="rId46"/>
              </p:custDataLst>
            </p:nvPr>
          </p:nvCxnSpPr>
          <p:spPr bwMode="auto">
            <a:xfrm>
              <a:off x="5309863" y="2745001"/>
              <a:ext cx="1443499" cy="0"/>
            </a:xfrm>
            <a:prstGeom prst="line">
              <a:avLst/>
            </a:prstGeom>
            <a:grpFill/>
            <a:ln w="6350" cap="flat" cmpd="sng" algn="ctr">
              <a:solidFill>
                <a:schemeClr val="bg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3" name="Gerade Verbindung 133"/>
            <p:cNvCxnSpPr>
              <a:cxnSpLocks/>
            </p:cNvCxnSpPr>
            <p:nvPr>
              <p:custDataLst>
                <p:tags r:id="rId47"/>
              </p:custDataLst>
            </p:nvPr>
          </p:nvCxnSpPr>
          <p:spPr bwMode="auto">
            <a:xfrm>
              <a:off x="5309863" y="3425164"/>
              <a:ext cx="1443499" cy="0"/>
            </a:xfrm>
            <a:prstGeom prst="line">
              <a:avLst/>
            </a:prstGeom>
            <a:grpFill/>
            <a:ln w="6350" cap="flat" cmpd="sng" algn="ctr">
              <a:solidFill>
                <a:schemeClr val="bg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4" name="Gerade Verbindung 134"/>
            <p:cNvCxnSpPr>
              <a:cxnSpLocks/>
            </p:cNvCxnSpPr>
            <p:nvPr>
              <p:custDataLst>
                <p:tags r:id="rId48"/>
              </p:custDataLst>
            </p:nvPr>
          </p:nvCxnSpPr>
          <p:spPr bwMode="auto">
            <a:xfrm>
              <a:off x="5309863" y="4074180"/>
              <a:ext cx="1443499" cy="0"/>
            </a:xfrm>
            <a:prstGeom prst="line">
              <a:avLst/>
            </a:prstGeom>
            <a:grpFill/>
            <a:ln w="6350" cap="flat" cmpd="sng" algn="ctr">
              <a:solidFill>
                <a:schemeClr val="bg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5" name="Gerade Verbindung 135"/>
            <p:cNvCxnSpPr>
              <a:cxnSpLocks/>
            </p:cNvCxnSpPr>
            <p:nvPr>
              <p:custDataLst>
                <p:tags r:id="rId49"/>
              </p:custDataLst>
            </p:nvPr>
          </p:nvCxnSpPr>
          <p:spPr bwMode="auto">
            <a:xfrm>
              <a:off x="5309863" y="4724630"/>
              <a:ext cx="1443499" cy="0"/>
            </a:xfrm>
            <a:prstGeom prst="line">
              <a:avLst/>
            </a:prstGeom>
            <a:grpFill/>
            <a:ln w="6350" cap="flat" cmpd="sng" algn="ctr">
              <a:solidFill>
                <a:schemeClr val="bg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57" name="Gruppieren 141"/>
          <p:cNvGrpSpPr/>
          <p:nvPr/>
        </p:nvGrpSpPr>
        <p:grpSpPr>
          <a:xfrm>
            <a:off x="623888" y="2400300"/>
            <a:ext cx="1116000" cy="3132000"/>
            <a:chOff x="390525" y="2103437"/>
            <a:chExt cx="1328524" cy="3336925"/>
          </a:xfrm>
          <a:solidFill>
            <a:schemeClr val="accent3">
              <a:lumMod val="75000"/>
            </a:schemeClr>
          </a:solidFill>
        </p:grpSpPr>
        <p:sp>
          <p:nvSpPr>
            <p:cNvPr id="258" name="Rectangle 28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395287" y="2103437"/>
              <a:ext cx="1323762" cy="3336925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lIns="90000" tIns="90000" rIns="90000" bIns="90000"/>
            <a:lstStyle/>
            <a:p>
              <a:pPr marL="0" lvl="1" indent="1588" algn="l">
                <a:spcAft>
                  <a:spcPts val="0"/>
                </a:spcAft>
                <a:buClr>
                  <a:schemeClr val="tx2"/>
                </a:buClr>
                <a:buSzPct val="80000"/>
              </a:pPr>
              <a:endParaRPr lang="de-DE" sz="1200" dirty="0" smtClean="0"/>
            </a:p>
          </p:txBody>
        </p:sp>
        <p:cxnSp>
          <p:nvCxnSpPr>
            <p:cNvPr id="259" name="Gerade Verbindung 127"/>
            <p:cNvCxnSpPr>
              <a:cxnSpLocks/>
            </p:cNvCxnSpPr>
            <p:nvPr>
              <p:custDataLst>
                <p:tags r:id="rId41"/>
              </p:custDataLst>
            </p:nvPr>
          </p:nvCxnSpPr>
          <p:spPr bwMode="auto">
            <a:xfrm>
              <a:off x="390525" y="2773985"/>
              <a:ext cx="1326979" cy="0"/>
            </a:xfrm>
            <a:prstGeom prst="line">
              <a:avLst/>
            </a:prstGeom>
            <a:grpFill/>
            <a:ln w="6350" cap="flat" cmpd="sng" algn="ctr">
              <a:solidFill>
                <a:schemeClr val="bg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0" name="Gerade Verbindung 129"/>
            <p:cNvCxnSpPr>
              <a:cxnSpLocks/>
            </p:cNvCxnSpPr>
            <p:nvPr>
              <p:custDataLst>
                <p:tags r:id="rId42"/>
              </p:custDataLst>
            </p:nvPr>
          </p:nvCxnSpPr>
          <p:spPr bwMode="auto">
            <a:xfrm>
              <a:off x="390525" y="3444534"/>
              <a:ext cx="1326979" cy="0"/>
            </a:xfrm>
            <a:prstGeom prst="line">
              <a:avLst/>
            </a:prstGeom>
            <a:grpFill/>
            <a:ln w="6350" cap="flat" cmpd="sng" algn="ctr">
              <a:solidFill>
                <a:schemeClr val="bg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1" name="Gerade Verbindung 130"/>
            <p:cNvCxnSpPr>
              <a:cxnSpLocks/>
            </p:cNvCxnSpPr>
            <p:nvPr>
              <p:custDataLst>
                <p:tags r:id="rId43"/>
              </p:custDataLst>
            </p:nvPr>
          </p:nvCxnSpPr>
          <p:spPr bwMode="auto">
            <a:xfrm>
              <a:off x="390525" y="4092575"/>
              <a:ext cx="1326979" cy="0"/>
            </a:xfrm>
            <a:prstGeom prst="line">
              <a:avLst/>
            </a:prstGeom>
            <a:grpFill/>
            <a:ln w="6350" cap="flat" cmpd="sng" algn="ctr">
              <a:solidFill>
                <a:schemeClr val="bg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2" name="Gerade Verbindung 131"/>
            <p:cNvCxnSpPr>
              <a:cxnSpLocks/>
            </p:cNvCxnSpPr>
            <p:nvPr>
              <p:custDataLst>
                <p:tags r:id="rId44"/>
              </p:custDataLst>
            </p:nvPr>
          </p:nvCxnSpPr>
          <p:spPr bwMode="auto">
            <a:xfrm>
              <a:off x="390525" y="4743450"/>
              <a:ext cx="1326979" cy="0"/>
            </a:xfrm>
            <a:prstGeom prst="line">
              <a:avLst/>
            </a:prstGeom>
            <a:grpFill/>
            <a:ln w="6350" cap="flat" cmpd="sng" algn="ctr">
              <a:solidFill>
                <a:schemeClr val="bg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graphicFrame>
        <p:nvGraphicFramePr>
          <p:cNvPr id="14" name="Objekt 1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0891222"/>
              </p:ext>
            </p:extLst>
          </p:nvPr>
        </p:nvGraphicFramePr>
        <p:xfrm>
          <a:off x="5791200" y="2286000"/>
          <a:ext cx="2552764" cy="3352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41" name="Diagramm" r:id="rId54" imgW="2552764" imgH="3352851" progId="MSGraph.Chart.8">
                  <p:embed followColorScheme="full"/>
                </p:oleObj>
              </mc:Choice>
              <mc:Fallback>
                <p:oleObj name="Diagramm" r:id="rId54" imgW="2552764" imgH="335285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5791200" y="2286000"/>
                        <a:ext cx="2552764" cy="33528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4" name="Textplatzhalt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200650" y="5037138"/>
            <a:ext cx="565150" cy="366713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80000"/>
            </a:pPr>
            <a:fld id="{F2204870-15BD-43B3-8A53-A110F2F5B4B3}" type="datetime'''''''A''''n''''''d''e''''''''''''re''s&#10;La''''''''n''''d'">
              <a:rPr lang="en-US" sz="1200" b="0"/>
              <a:pPr/>
              <a:t>Anderes
Land</a:t>
            </a:fld>
            <a:endParaRPr lang="de-DE" sz="1200" b="0" dirty="0" smtClean="0">
              <a:sym typeface="Arial"/>
            </a:endParaRPr>
          </a:p>
        </p:txBody>
      </p:sp>
      <p:sp>
        <p:nvSpPr>
          <p:cNvPr id="265" name="Textplatzhalt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353050" y="4508500"/>
            <a:ext cx="412750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80000"/>
            </a:pPr>
            <a:fld id="{2CE90CEA-2AB3-41BB-9C88-1FEBC10D19E3}" type="datetime'''''''J''''a''''''''p''''''''''a''''''''''''''''''''''n'">
              <a:rPr lang="en-US" sz="1200" b="0"/>
              <a:pPr algn="r">
                <a:spcBef>
                  <a:spcPct val="0"/>
                </a:spcBef>
                <a:spcAft>
                  <a:spcPct val="20000"/>
                </a:spcAft>
                <a:buClr>
                  <a:schemeClr val="tx2"/>
                </a:buClr>
                <a:buSzPct val="80000"/>
              </a:pPr>
              <a:t>Japan</a:t>
            </a:fld>
            <a:endParaRPr lang="de-DE" sz="1200" b="0" dirty="0" smtClean="0">
              <a:sym typeface="Arial"/>
            </a:endParaRPr>
          </a:p>
        </p:txBody>
      </p:sp>
      <p:sp>
        <p:nvSpPr>
          <p:cNvPr id="266" name="Textplatzhalt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53063" y="3884613"/>
            <a:ext cx="312738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80000"/>
            </a:pPr>
            <a:fld id="{C0244DFC-7A4F-4F4A-A463-A0E0C2547B39}" type="datetime'''''U''''''''''''''''''''''''''''''''''''''''''S''''A'''''">
              <a:rPr lang="en-US" sz="1200" b="0"/>
              <a:pPr algn="r">
                <a:spcBef>
                  <a:spcPct val="0"/>
                </a:spcBef>
                <a:spcAft>
                  <a:spcPct val="20000"/>
                </a:spcAft>
                <a:buClr>
                  <a:schemeClr val="tx2"/>
                </a:buClr>
                <a:buSzPct val="80000"/>
              </a:pPr>
              <a:t>USA</a:t>
            </a:fld>
            <a:endParaRPr lang="de-DE" sz="1200" b="0" dirty="0" smtClean="0">
              <a:sym typeface="Arial"/>
            </a:endParaRPr>
          </a:p>
        </p:txBody>
      </p:sp>
      <p:sp>
        <p:nvSpPr>
          <p:cNvPr id="267" name="Textplatzhalt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116513" y="3260725"/>
            <a:ext cx="649288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80000"/>
            </a:pPr>
            <a:fld id="{80D961B7-4262-4842-84C1-7C3AA2972B72}" type="datetime'''''''''''S''''''üd''''''''''''k''''o''''''''re''''a'''''''''">
              <a:rPr lang="en-US" sz="1200" b="0"/>
              <a:pPr algn="r">
                <a:spcBef>
                  <a:spcPct val="0"/>
                </a:spcBef>
                <a:spcAft>
                  <a:spcPct val="20000"/>
                </a:spcAft>
                <a:buClr>
                  <a:schemeClr val="tx2"/>
                </a:buClr>
                <a:buSzPct val="80000"/>
              </a:pPr>
              <a:t>Südkorea</a:t>
            </a:fld>
            <a:endParaRPr lang="de-DE" sz="1200" b="0" dirty="0" smtClean="0">
              <a:sym typeface="Arial"/>
            </a:endParaRPr>
          </a:p>
        </p:txBody>
      </p:sp>
      <p:sp>
        <p:nvSpPr>
          <p:cNvPr id="268" name="Textplatzhalt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370513" y="2632075"/>
            <a:ext cx="395288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80000"/>
            </a:pPr>
            <a:fld id="{9791165F-8911-42C5-90C3-37B842491A19}" type="datetime'''''''''''''''''C''''''''''''h''i''''''''n''''''a'''''''''''">
              <a:rPr lang="en-US" sz="1200" b="0"/>
              <a:pPr algn="r">
                <a:spcBef>
                  <a:spcPct val="0"/>
                </a:spcBef>
                <a:spcAft>
                  <a:spcPct val="20000"/>
                </a:spcAft>
                <a:buClr>
                  <a:schemeClr val="tx2"/>
                </a:buClr>
                <a:buSzPct val="80000"/>
              </a:pPr>
              <a:t>China</a:t>
            </a:fld>
            <a:endParaRPr lang="de-DE" sz="1200" b="0" dirty="0" smtClean="0">
              <a:sym typeface="Arial"/>
            </a:endParaRPr>
          </a:p>
        </p:txBody>
      </p:sp>
      <p:graphicFrame>
        <p:nvGraphicFramePr>
          <p:cNvPr id="11" name="Objekt 10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87634153"/>
              </p:ext>
            </p:extLst>
          </p:nvPr>
        </p:nvGraphicFramePr>
        <p:xfrm>
          <a:off x="1638300" y="2286001"/>
          <a:ext cx="1914573" cy="3352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42" name="Diagramm" r:id="rId56" imgW="1914573" imgH="3352851" progId="MSGraph.Chart.8">
                  <p:embed followColorScheme="full"/>
                </p:oleObj>
              </mc:Choice>
              <mc:Fallback>
                <p:oleObj name="Diagramm" r:id="rId56" imgW="1914573" imgH="335285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638300" y="2286001"/>
                        <a:ext cx="1914573" cy="33528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Textplatzhalt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319213" y="5137150"/>
            <a:ext cx="312738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80000"/>
            </a:pPr>
            <a:fld id="{B19E9016-7ED7-478D-90E4-8DA137C05106}" type="datetime'''''''''''''''''''''U''''''''''''S''''''''''A'''''">
              <a:rPr lang="en-US" sz="1200" b="0"/>
              <a:pPr algn="r">
                <a:spcBef>
                  <a:spcPct val="0"/>
                </a:spcBef>
                <a:spcAft>
                  <a:spcPct val="20000"/>
                </a:spcAft>
                <a:buClr>
                  <a:schemeClr val="tx2"/>
                </a:buClr>
                <a:buSzPct val="80000"/>
              </a:pPr>
              <a:t>USA</a:t>
            </a:fld>
            <a:endParaRPr lang="de-DE" sz="1200" b="0" dirty="0" smtClean="0">
              <a:sym typeface="Arial"/>
            </a:endParaRPr>
          </a:p>
        </p:txBody>
      </p:sp>
      <p:sp>
        <p:nvSpPr>
          <p:cNvPr id="121" name="Textplatzhalter 55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225675" y="4924425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CC6D90B0-73C6-4A28-AF82-D1F86B481675}" type="datetime'''''2''''''''''5'' ''''''''%'''''">
              <a:rPr lang="en-US" sz="1200" b="0">
                <a:latin typeface="Arial"/>
                <a:cs typeface="Arial"/>
                <a:sym typeface="Arial"/>
              </a:rPr>
              <a:pPr/>
              <a:t>25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50" name="Textplatzhalter 5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082800" y="5062538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549CFBB6-D856-441B-8102-3459F84E800E}" type="datetime'''''''''1''''''''''''7'''' ''''''''''''''''''''''''''%''''''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17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62" name="Textplatzhalter 6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768600" y="4081463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10CC0E78-C72C-4DBC-BFF1-11B97687939F}" type="datetime'''''5''''''''''''''''''''''''''''''''''''''5'''' %''''''''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55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298" name="Textplatzhalt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219200" y="4508500"/>
            <a:ext cx="412750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80000"/>
            </a:pPr>
            <a:fld id="{A4056A11-0F5E-4A2A-B598-44E20EBA24ED}" type="datetime'''''''J''''''''''''''''''''a''''''''''''p''''''''an'''''''">
              <a:rPr lang="en-US" sz="1200" b="0"/>
              <a:pPr algn="r">
                <a:spcBef>
                  <a:spcPct val="0"/>
                </a:spcBef>
                <a:spcAft>
                  <a:spcPct val="20000"/>
                </a:spcAft>
                <a:buClr>
                  <a:schemeClr val="tx2"/>
                </a:buClr>
                <a:buSzPct val="80000"/>
              </a:pPr>
              <a:t>Japan</a:t>
            </a:fld>
            <a:endParaRPr lang="de-DE" sz="1200" b="0" dirty="0" smtClean="0">
              <a:sym typeface="Arial"/>
            </a:endParaRPr>
          </a:p>
        </p:txBody>
      </p:sp>
      <p:sp>
        <p:nvSpPr>
          <p:cNvPr id="117" name="Textplatzhalter 51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68525" y="4295775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2F5C4DA2-70B9-4499-9B0D-38AD387526DF}" type="datetime'2''''''2'''''''''''''''''''''' ''''%'''''''''''''''''''''''">
              <a:rPr lang="en-US" sz="1200" b="0">
                <a:latin typeface="Arial"/>
                <a:cs typeface="Arial"/>
                <a:sym typeface="Arial"/>
              </a:rPr>
              <a:pPr/>
              <a:t>22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49" name="Textplatzhalter 5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101850" y="4433888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1AD72991-44A6-4D80-994A-2D545F853F65}" type="datetime'''''''''1''''8 ''''''''''''''''''''''''''''%'''''''''''">
              <a:rPr lang="en-US" sz="1200" b="0">
                <a:latin typeface="Arial"/>
                <a:cs typeface="Arial"/>
                <a:sym typeface="Arial"/>
              </a:rPr>
              <a:pPr/>
              <a:t>18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57" name="Textplatzhalter 59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082800" y="5200650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9DC7D2F5-C08B-4AAB-9133-B7EFFD7B5DEB}" type="datetime'''1''''''''''''''''''''7'''''''' ''''''''''''''''''''%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17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60" name="Textplatzhalter 61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359150" y="2833688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BB767CE0-EA1E-491D-B2C6-3A54FFBF0F3D}" type="datetime'''''''''''''''''''88 ''''''''%''''''''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88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294" name="Textplatzhalt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12800" y="3884613"/>
            <a:ext cx="819150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80000"/>
            </a:pPr>
            <a:fld id="{ECF2F204-D330-4E30-9300-EC6ECFD47590}" type="datetime'''''''W''e''''''''steu''''''''''r''''''''''''''''''''''''opa'">
              <a:rPr lang="en-US" sz="1200" b="0"/>
              <a:pPr algn="r">
                <a:spcBef>
                  <a:spcPct val="0"/>
                </a:spcBef>
                <a:spcAft>
                  <a:spcPct val="20000"/>
                </a:spcAft>
                <a:buClr>
                  <a:schemeClr val="tx2"/>
                </a:buClr>
                <a:buSzPct val="80000"/>
              </a:pPr>
              <a:t>Westeuropa</a:t>
            </a:fld>
            <a:endParaRPr lang="de-DE" sz="1200" b="0" dirty="0" smtClean="0">
              <a:sym typeface="Arial"/>
            </a:endParaRPr>
          </a:p>
        </p:txBody>
      </p:sp>
      <p:sp>
        <p:nvSpPr>
          <p:cNvPr id="113" name="Textplatzhalter 47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092450" y="3671888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9FA2A321-D259-4571-B52A-8E64785834E4}" type="datetime'7''''''''3'''''' ''''''''''''''''''''''''%'''''''''">
              <a:rPr lang="en-US" sz="1200" b="0">
                <a:latin typeface="Arial"/>
                <a:cs typeface="Arial"/>
                <a:sym typeface="Arial"/>
              </a:rPr>
              <a:pPr/>
              <a:t>73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48" name="Textplatzhalter 51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178175" y="3810000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EDB71667-B3F2-4D86-9539-125A8A616880}" type="datetime'''''7''''''''''''''''''8'''' ''''%'''''''''''''''''''">
              <a:rPr lang="en-US" sz="1200" b="0">
                <a:latin typeface="Arial"/>
                <a:cs typeface="Arial"/>
                <a:sym typeface="Arial"/>
              </a:rPr>
              <a:pPr/>
              <a:t>78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56" name="Textplatzhalter 58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68525" y="4572000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757E8163-4185-4D53-BFC0-13730C6AD670}" type="datetime'''''''''''''''''''''''''''''22'''''''' %''''''''''''''''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22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61" name="Textplatzhalter 6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768600" y="3462338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AAA78172-E3D1-4233-BE39-2C1E0E524201}" type="datetime'''''''5''''''''''''5'''' ''''%''''''''''''''''''''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55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295" name="Textplatzhalt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82663" y="3260725"/>
            <a:ext cx="649288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80000"/>
            </a:pPr>
            <a:fld id="{79F48F87-ED68-4579-86E3-08BFFC555B96}" type="datetime'''''''''Sü''''''''''''''''d''''''k''''''''''''or''''''e''a'''">
              <a:rPr lang="en-US" sz="1200" b="0"/>
              <a:pPr algn="r">
                <a:spcBef>
                  <a:spcPct val="0"/>
                </a:spcBef>
                <a:spcAft>
                  <a:spcPct val="20000"/>
                </a:spcAft>
                <a:buClr>
                  <a:schemeClr val="tx2"/>
                </a:buClr>
                <a:buSzPct val="80000"/>
              </a:pPr>
              <a:t>Südkorea</a:t>
            </a:fld>
            <a:endParaRPr lang="de-DE" sz="1200" b="0" dirty="0" smtClean="0">
              <a:sym typeface="Arial"/>
            </a:endParaRPr>
          </a:p>
        </p:txBody>
      </p:sp>
      <p:sp>
        <p:nvSpPr>
          <p:cNvPr id="109" name="Textplatzhalter 4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587625" y="3048000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D69CF670-B889-482C-901D-3C56380DB0B3}" type="datetime'4''''''''''''''''''''''''5'' ''''''''%'''''''''">
              <a:rPr lang="en-US" sz="1200" b="0">
                <a:latin typeface="Arial"/>
                <a:cs typeface="Arial"/>
                <a:sym typeface="Arial"/>
              </a:rPr>
              <a:pPr/>
              <a:t>45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47" name="Textplatzhalter 50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673350" y="3186113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FB7084C1-D166-4F00-987E-5637E72FDA4B}" type="datetime'''5''''''''''''''''''''''''0'' ''%'''''''''''">
              <a:rPr lang="en-US" sz="1200" b="0">
                <a:latin typeface="Arial"/>
                <a:cs typeface="Arial"/>
                <a:sym typeface="Arial"/>
              </a:rPr>
              <a:pPr/>
              <a:t>50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54" name="Textplatzhalter 57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959100" y="3948113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83DB4A70-62F0-486F-BE97-AAFC7A91F194}" type="datetime'''''''''''''''''66'''''''''''''''''''''' ''''''''''''%''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66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296" name="Textplatzhalt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236663" y="2632075"/>
            <a:ext cx="395288" cy="1651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FontTx/>
              <a:buNone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80000"/>
              <a:buFont typeface="Wingdings" pitchFamily="2" charset="2"/>
              <a:buChar char="n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SzPct val="70000"/>
              <a:buFont typeface="Wingdings" pitchFamily="2" charset="2"/>
              <a:buChar char="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00000" indent="-180975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8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1800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36"/>
              </a:spcAft>
              <a:buClr>
                <a:srgbClr val="4C4C4C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80000"/>
            </a:pPr>
            <a:fld id="{07F15084-A92C-4051-8140-686F4C65992B}" type="datetime'''''''''''''''''''C''h''''''''in''''''''''''''''''a'''''''''''">
              <a:rPr lang="en-US" sz="1200" b="0"/>
              <a:pPr algn="r">
                <a:spcBef>
                  <a:spcPct val="0"/>
                </a:spcBef>
                <a:spcAft>
                  <a:spcPct val="20000"/>
                </a:spcAft>
                <a:buClr>
                  <a:schemeClr val="tx2"/>
                </a:buClr>
                <a:buSzPct val="80000"/>
              </a:pPr>
              <a:t>China</a:t>
            </a:fld>
            <a:endParaRPr lang="de-DE" sz="12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05" name="Textplatzhalter 39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482975" y="2419350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D0827E78-CDC8-4646-85D1-B29D82ED2005}" type="datetime'''''''''''''''''''''''''''''''9''''''''''5'' ''''%''''''''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95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46" name="Textplatzhalter 49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397250" y="2557463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C5A434DE-F5D2-4A2B-8D84-D8B97DA71905}" type="datetime'''9''''''''0'' ''''''''''''''''''%'">
              <a:rPr lang="en-US" sz="1200" b="0">
                <a:latin typeface="Arial"/>
                <a:cs typeface="Arial"/>
                <a:sym typeface="Arial"/>
              </a:rPr>
              <a:pPr/>
              <a:t>90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53" name="Textplatzhalter 56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263900" y="3324225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1153959D-BF6A-4EF7-BDC8-8965FB897CD1}" type="datetime'83'''''''''''''''''''''''''' ''''''''''''''''''''''%''''''''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83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63" name="Textplatzhalter 64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101850" y="4710113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2B2D60C5-A1C2-4DFE-B425-EAD291E2D90C}" type="datetime'''''''''''''''''''''''''''1''''8'''''''''''''''' %''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18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52" name="Textplatzhalter 55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406775" y="2695575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F3A5877A-46DD-446A-A94D-2BA5487C9686}" type="datetime'''''''''''9''''''''''''''1'''''' ''''''''''''''''''%''''''''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91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sp>
        <p:nvSpPr>
          <p:cNvPr id="164" name="Textplatzhalter 65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406650" y="5338763"/>
            <a:ext cx="346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EA80CAD0-BA7D-4AD0-9E21-6BCEE5036F28}" type="datetime'''''3''''''''5'''''''''''''''''''''''''''''''''''''''''' %'''">
              <a:rPr lang="en-US" sz="1200" b="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35 %</a:t>
            </a:fld>
            <a:endParaRPr lang="de-DE" sz="1200" b="0" dirty="0">
              <a:latin typeface="Arial"/>
              <a:cs typeface="Arial"/>
              <a:sym typeface="Arial"/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1633539" y="2138363"/>
            <a:ext cx="2340000" cy="293687"/>
            <a:chOff x="1633538" y="2138363"/>
            <a:chExt cx="2828669" cy="293687"/>
          </a:xfrm>
        </p:grpSpPr>
        <p:sp>
          <p:nvSpPr>
            <p:cNvPr id="299" name="LGND_01_"/>
            <p:cNvSpPr>
              <a:spLocks noChangeArrowheads="1"/>
            </p:cNvSpPr>
            <p:nvPr/>
          </p:nvSpPr>
          <p:spPr bwMode="auto">
            <a:xfrm>
              <a:off x="1633538" y="2138363"/>
              <a:ext cx="590294" cy="293687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wrap="none" lIns="90000" tIns="90000" rIns="90000" bIns="90000" anchor="ctr" anchorCtr="0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de-DE" sz="1200" dirty="0" smtClean="0">
                  <a:solidFill>
                    <a:schemeClr val="tx2"/>
                  </a:solidFill>
                </a:rPr>
                <a:t>0 %</a:t>
              </a:r>
              <a:endParaRPr lang="de-DE" sz="1200" dirty="0">
                <a:solidFill>
                  <a:schemeClr val="tx2"/>
                </a:solidFill>
              </a:endParaRPr>
            </a:p>
          </p:txBody>
        </p:sp>
        <p:sp>
          <p:nvSpPr>
            <p:cNvPr id="300" name="LGND_01_"/>
            <p:cNvSpPr>
              <a:spLocks noChangeArrowheads="1"/>
            </p:cNvSpPr>
            <p:nvPr/>
          </p:nvSpPr>
          <p:spPr bwMode="auto">
            <a:xfrm>
              <a:off x="2752725" y="2138363"/>
              <a:ext cx="590294" cy="293687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wrap="none" lIns="90000" tIns="90000" rIns="90000" bIns="90000" anchor="ctr" anchorCtr="0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de-DE" sz="1200" dirty="0" smtClean="0">
                  <a:solidFill>
                    <a:schemeClr val="tx2"/>
                  </a:solidFill>
                </a:rPr>
                <a:t>50 %</a:t>
              </a:r>
              <a:endParaRPr lang="de-DE" sz="1200" dirty="0">
                <a:solidFill>
                  <a:schemeClr val="tx2"/>
                </a:solidFill>
              </a:endParaRPr>
            </a:p>
          </p:txBody>
        </p:sp>
        <p:sp>
          <p:nvSpPr>
            <p:cNvPr id="301" name="LGND_01_"/>
            <p:cNvSpPr>
              <a:spLocks noChangeArrowheads="1"/>
            </p:cNvSpPr>
            <p:nvPr/>
          </p:nvSpPr>
          <p:spPr bwMode="auto">
            <a:xfrm>
              <a:off x="3871913" y="2138363"/>
              <a:ext cx="590294" cy="293687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wrap="none" lIns="90000" tIns="90000" rIns="90000" bIns="90000" anchor="ctr" anchorCtr="0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de-DE" sz="1200" dirty="0" smtClean="0">
                  <a:solidFill>
                    <a:schemeClr val="tx2"/>
                  </a:solidFill>
                </a:rPr>
                <a:t>100 %</a:t>
              </a:r>
              <a:endParaRPr lang="de-DE" sz="1200" dirty="0">
                <a:solidFill>
                  <a:schemeClr val="tx2"/>
                </a:solidFill>
              </a:endParaRPr>
            </a:p>
          </p:txBody>
        </p:sp>
      </p:grpSp>
      <p:sp>
        <p:nvSpPr>
          <p:cNvPr id="302" name="Textfeld 301"/>
          <p:cNvSpPr txBox="1"/>
          <p:nvPr/>
        </p:nvSpPr>
        <p:spPr>
          <a:xfrm>
            <a:off x="1654736" y="5996694"/>
            <a:ext cx="928460" cy="21544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>
              <a:spcAft>
                <a:spcPts val="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Studie 2011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306" name="Abgerundetes Rechteck 305"/>
          <p:cNvSpPr/>
          <p:nvPr/>
        </p:nvSpPr>
        <p:spPr>
          <a:xfrm>
            <a:off x="3873500" y="2559050"/>
            <a:ext cx="540000" cy="288000"/>
          </a:xfrm>
          <a:prstGeom prst="roundRect">
            <a:avLst>
              <a:gd name="adj" fmla="val 50000"/>
            </a:avLst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0"/>
              </a:spcAft>
            </a:pPr>
            <a:r>
              <a:rPr lang="de-DE" sz="1200" b="1" dirty="0" smtClean="0">
                <a:solidFill>
                  <a:schemeClr val="bg1"/>
                </a:solidFill>
              </a:rPr>
              <a:t>+5 %</a:t>
            </a:r>
          </a:p>
        </p:txBody>
      </p:sp>
      <p:sp>
        <p:nvSpPr>
          <p:cNvPr id="307" name="Abgerundetes Rechteck 306"/>
          <p:cNvSpPr/>
          <p:nvPr/>
        </p:nvSpPr>
        <p:spPr>
          <a:xfrm>
            <a:off x="3873500" y="3203575"/>
            <a:ext cx="540000" cy="288000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-</a:t>
            </a:r>
            <a:r>
              <a:rPr lang="de-DE" sz="1200" b="1" dirty="0" smtClean="0">
                <a:solidFill>
                  <a:schemeClr val="tx1"/>
                </a:solidFill>
              </a:rPr>
              <a:t>10 %</a:t>
            </a:r>
          </a:p>
        </p:txBody>
      </p:sp>
      <p:sp>
        <p:nvSpPr>
          <p:cNvPr id="308" name="Abgerundetes Rechteck 307"/>
          <p:cNvSpPr/>
          <p:nvPr/>
        </p:nvSpPr>
        <p:spPr>
          <a:xfrm>
            <a:off x="3873500" y="3821113"/>
            <a:ext cx="540000" cy="288000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-5</a:t>
            </a:r>
            <a:r>
              <a:rPr lang="de-DE" sz="1200" b="1" dirty="0" smtClean="0">
                <a:solidFill>
                  <a:schemeClr val="tx1"/>
                </a:solidFill>
              </a:rPr>
              <a:t> %</a:t>
            </a:r>
          </a:p>
        </p:txBody>
      </p:sp>
      <p:sp>
        <p:nvSpPr>
          <p:cNvPr id="309" name="Abgerundetes Rechteck 308"/>
          <p:cNvSpPr/>
          <p:nvPr/>
        </p:nvSpPr>
        <p:spPr>
          <a:xfrm>
            <a:off x="3873500" y="4465638"/>
            <a:ext cx="540000" cy="288000"/>
          </a:xfrm>
          <a:prstGeom prst="roundRect">
            <a:avLst>
              <a:gd name="adj" fmla="val 50000"/>
            </a:avLst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0"/>
              </a:spcAft>
            </a:pPr>
            <a:r>
              <a:rPr lang="de-DE" sz="1200" dirty="0" smtClean="0">
                <a:solidFill>
                  <a:schemeClr val="bg1"/>
                </a:solidFill>
              </a:rPr>
              <a:t>+4</a:t>
            </a:r>
            <a:r>
              <a:rPr lang="de-DE" sz="1200" b="1" dirty="0" smtClean="0">
                <a:solidFill>
                  <a:schemeClr val="bg1"/>
                </a:solidFill>
              </a:rPr>
              <a:t> %</a:t>
            </a:r>
          </a:p>
        </p:txBody>
      </p:sp>
      <p:sp>
        <p:nvSpPr>
          <p:cNvPr id="310" name="Abgerundetes Rechteck 309"/>
          <p:cNvSpPr/>
          <p:nvPr/>
        </p:nvSpPr>
        <p:spPr>
          <a:xfrm>
            <a:off x="3873500" y="5081720"/>
            <a:ext cx="540000" cy="288000"/>
          </a:xfrm>
          <a:prstGeom prst="roundRect">
            <a:avLst>
              <a:gd name="adj" fmla="val 50000"/>
            </a:avLst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0"/>
              </a:spcAft>
            </a:pPr>
            <a:r>
              <a:rPr lang="de-DE" sz="1200" b="1" dirty="0" smtClean="0">
                <a:solidFill>
                  <a:schemeClr val="bg1"/>
                </a:solidFill>
              </a:rPr>
              <a:t>+8 %</a:t>
            </a:r>
          </a:p>
        </p:txBody>
      </p:sp>
      <p:sp>
        <p:nvSpPr>
          <p:cNvPr id="16" name="Rechteck 15"/>
          <p:cNvSpPr/>
          <p:nvPr>
            <p:custDataLst>
              <p:tags r:id="rId36"/>
            </p:custDataLst>
          </p:nvPr>
        </p:nvSpPr>
        <p:spPr bwMode="auto">
          <a:xfrm>
            <a:off x="6700838" y="5815013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heSans B7 Bold" pitchFamily="34" charset="0"/>
            </a:endParaRPr>
          </a:p>
        </p:txBody>
      </p:sp>
      <p:sp>
        <p:nvSpPr>
          <p:cNvPr id="15" name="Rechteck 14"/>
          <p:cNvSpPr/>
          <p:nvPr>
            <p:custDataLst>
              <p:tags r:id="rId37"/>
            </p:custDataLst>
          </p:nvPr>
        </p:nvSpPr>
        <p:spPr bwMode="auto">
          <a:xfrm>
            <a:off x="7704138" y="5815013"/>
            <a:ext cx="179388" cy="13335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heSans B7 Bold" pitchFamily="34" charset="0"/>
            </a:endParaRPr>
          </a:p>
        </p:txBody>
      </p:sp>
      <p:sp>
        <p:nvSpPr>
          <p:cNvPr id="315" name="Textplatzhalter 13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934325" y="5811838"/>
            <a:ext cx="6715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1000" b="0" dirty="0" err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udie</a:t>
            </a:r>
            <a:r>
              <a:rPr lang="en-US" sz="1000" b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2014</a:t>
            </a:r>
            <a:endParaRPr lang="en-US" sz="1000" b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6" name="Textplatzhalter 14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931025" y="5811838"/>
            <a:ext cx="6715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342C1EDC-88B6-426E-BECD-A8769F9B3FE2}" type="datetime'''''''''''''''S''''''t''''u''''d''ie ''''''''2''''0''1''2'''''">
              <a:rPr lang="en-US" sz="1000" b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Studie 2012</a:t>
            </a:fld>
            <a:endParaRPr lang="en-US" sz="1000" b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Inhaltsplatzhalter 2"/>
          <p:cNvSpPr txBox="1">
            <a:spLocks/>
          </p:cNvSpPr>
          <p:nvPr/>
        </p:nvSpPr>
        <p:spPr bwMode="gray">
          <a:xfrm>
            <a:off x="500850" y="1589062"/>
            <a:ext cx="3996000" cy="504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90000" rIns="90000" bIns="90000" numCol="1" anchor="ctr" anchorCtr="0" compatLnSpc="1">
            <a:prstTxWarp prst="textNoShape">
              <a:avLst/>
            </a:prstTxWarp>
          </a:bodyPr>
          <a:lstStyle/>
          <a:p>
            <a:pPr marL="180975" lvl="1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defRPr/>
            </a:pPr>
            <a:r>
              <a:rPr lang="de-DE" sz="1400" kern="0" dirty="0"/>
              <a:t>Zunehmender Wettbewerbsdruck nach Ländern</a:t>
            </a:r>
          </a:p>
        </p:txBody>
      </p:sp>
      <p:sp>
        <p:nvSpPr>
          <p:cNvPr id="80" name="Inhaltsplatzhalter 2"/>
          <p:cNvSpPr txBox="1">
            <a:spLocks/>
          </p:cNvSpPr>
          <p:nvPr/>
        </p:nvSpPr>
        <p:spPr bwMode="gray">
          <a:xfrm>
            <a:off x="4660162" y="1589062"/>
            <a:ext cx="3996000" cy="504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90000" rIns="90000" bIns="90000" numCol="1" anchor="ctr" anchorCtr="0" compatLnSpc="1">
            <a:prstTxWarp prst="textNoShape">
              <a:avLst/>
            </a:prstTxWarp>
          </a:bodyPr>
          <a:lstStyle/>
          <a:p>
            <a:pPr marL="180975" lvl="1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defRPr/>
            </a:pPr>
            <a:r>
              <a:rPr lang="de-DE" sz="1400" kern="0" dirty="0"/>
              <a:t>Herkunft des wichtigsten </a:t>
            </a:r>
            <a:r>
              <a:rPr lang="de-DE" sz="1400" u="sng" kern="0" dirty="0"/>
              <a:t>außereuropäischen</a:t>
            </a:r>
            <a:r>
              <a:rPr lang="de-DE" sz="1400" kern="0" dirty="0"/>
              <a:t> Wettbewerbers (Anzahl Nennungen)</a:t>
            </a:r>
          </a:p>
        </p:txBody>
      </p:sp>
      <p:sp>
        <p:nvSpPr>
          <p:cNvPr id="97" name="Textfeld 96"/>
          <p:cNvSpPr txBox="1"/>
          <p:nvPr/>
        </p:nvSpPr>
        <p:spPr>
          <a:xfrm>
            <a:off x="1654736" y="5798914"/>
            <a:ext cx="893193" cy="21544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>
              <a:spcAft>
                <a:spcPts val="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Studie 2012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304" name="Textfeld 303"/>
          <p:cNvSpPr txBox="1"/>
          <p:nvPr/>
        </p:nvSpPr>
        <p:spPr>
          <a:xfrm>
            <a:off x="2516231" y="6335713"/>
            <a:ext cx="1460657" cy="21544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>
              <a:spcAft>
                <a:spcPts val="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Aktuelle Studie 2014 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75" name="Geschweifte Klammer rechts 74"/>
          <p:cNvSpPr/>
          <p:nvPr/>
        </p:nvSpPr>
        <p:spPr>
          <a:xfrm rot="5400000">
            <a:off x="3174559" y="5617093"/>
            <a:ext cx="144000" cy="1279040"/>
          </a:xfrm>
          <a:prstGeom prst="rightBrace">
            <a:avLst>
              <a:gd name="adj1" fmla="val 0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spcAft>
                <a:spcPts val="0"/>
              </a:spcAft>
            </a:pPr>
            <a:endParaRPr lang="de-DE" sz="1000"/>
          </a:p>
        </p:txBody>
      </p:sp>
      <p:grpSp>
        <p:nvGrpSpPr>
          <p:cNvPr id="228" name="Gruppieren 227"/>
          <p:cNvGrpSpPr/>
          <p:nvPr/>
        </p:nvGrpSpPr>
        <p:grpSpPr>
          <a:xfrm>
            <a:off x="2653912" y="5822835"/>
            <a:ext cx="1206500" cy="379413"/>
            <a:chOff x="-2625725" y="3216275"/>
            <a:chExt cx="1206500" cy="379413"/>
          </a:xfrm>
        </p:grpSpPr>
        <p:sp>
          <p:nvSpPr>
            <p:cNvPr id="20" name="Rectangle 57"/>
            <p:cNvSpPr>
              <a:spLocks noChangeArrowheads="1"/>
            </p:cNvSpPr>
            <p:nvPr/>
          </p:nvSpPr>
          <p:spPr bwMode="auto">
            <a:xfrm>
              <a:off x="-2625725" y="3216275"/>
              <a:ext cx="179387" cy="133350"/>
            </a:xfrm>
            <a:prstGeom prst="rect">
              <a:avLst/>
            </a:prstGeom>
            <a:solidFill>
              <a:srgbClr val="F491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Rectangle 59"/>
            <p:cNvSpPr>
              <a:spLocks noChangeArrowheads="1"/>
            </p:cNvSpPr>
            <p:nvPr/>
          </p:nvSpPr>
          <p:spPr bwMode="auto">
            <a:xfrm>
              <a:off x="-2625725" y="3419475"/>
              <a:ext cx="179387" cy="133350"/>
            </a:xfrm>
            <a:prstGeom prst="rect">
              <a:avLst/>
            </a:prstGeom>
            <a:solidFill>
              <a:srgbClr val="4C9BDC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4" name="Rectangle 66"/>
            <p:cNvSpPr>
              <a:spLocks noChangeArrowheads="1"/>
            </p:cNvSpPr>
            <p:nvPr/>
          </p:nvSpPr>
          <p:spPr bwMode="auto">
            <a:xfrm>
              <a:off x="-2393950" y="3222625"/>
              <a:ext cx="974725" cy="168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0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Nächste 3 Jahre</a:t>
              </a:r>
              <a:endPara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5" name="Rectangle 67"/>
            <p:cNvSpPr>
              <a:spLocks noChangeArrowheads="1"/>
            </p:cNvSpPr>
            <p:nvPr/>
          </p:nvSpPr>
          <p:spPr bwMode="auto">
            <a:xfrm>
              <a:off x="-2393950" y="3427413"/>
              <a:ext cx="852487" cy="168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0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Letzte 3 Jahre</a:t>
              </a:r>
              <a:endPara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27" name="Gruppieren 226"/>
          <p:cNvGrpSpPr/>
          <p:nvPr/>
        </p:nvGrpSpPr>
        <p:grpSpPr>
          <a:xfrm>
            <a:off x="655860" y="5822835"/>
            <a:ext cx="1084262" cy="379413"/>
            <a:chOff x="-1374775" y="3216275"/>
            <a:chExt cx="1084262" cy="379413"/>
          </a:xfrm>
        </p:grpSpPr>
        <p:sp>
          <p:nvSpPr>
            <p:cNvPr id="27" name="Rectangle 61"/>
            <p:cNvSpPr>
              <a:spLocks noChangeArrowheads="1"/>
            </p:cNvSpPr>
            <p:nvPr/>
          </p:nvSpPr>
          <p:spPr bwMode="auto">
            <a:xfrm>
              <a:off x="-1374775" y="3216275"/>
              <a:ext cx="179387" cy="133350"/>
            </a:xfrm>
            <a:prstGeom prst="rect">
              <a:avLst/>
            </a:prstGeom>
            <a:solidFill>
              <a:srgbClr val="A5CCED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Rectangle 63"/>
            <p:cNvSpPr>
              <a:spLocks noChangeArrowheads="1"/>
            </p:cNvSpPr>
            <p:nvPr/>
          </p:nvSpPr>
          <p:spPr bwMode="auto">
            <a:xfrm>
              <a:off x="-1374775" y="3419475"/>
              <a:ext cx="179387" cy="133350"/>
            </a:xfrm>
            <a:prstGeom prst="rect">
              <a:avLst/>
            </a:prstGeom>
            <a:solidFill>
              <a:srgbClr val="006582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Rectangle 65"/>
            <p:cNvSpPr>
              <a:spLocks noChangeArrowheads="1"/>
            </p:cNvSpPr>
            <p:nvPr/>
          </p:nvSpPr>
          <p:spPr bwMode="auto">
            <a:xfrm>
              <a:off x="-1144588" y="3222625"/>
              <a:ext cx="854075" cy="168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0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Letzte 3 Jahre</a:t>
              </a:r>
              <a:endParaRPr kumimoji="0" lang="de-DE" alt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6" name="Rectangle 68"/>
            <p:cNvSpPr>
              <a:spLocks noChangeArrowheads="1"/>
            </p:cNvSpPr>
            <p:nvPr/>
          </p:nvSpPr>
          <p:spPr bwMode="auto">
            <a:xfrm>
              <a:off x="-1144588" y="3427413"/>
              <a:ext cx="854075" cy="168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0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Letzte 3 Jahre</a:t>
              </a:r>
              <a:endParaRPr kumimoji="0" lang="de-DE" alt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333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9" name="Objekt 1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4762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12" name="think-cell Folie" r:id="rId41" imgW="136" imgH="136" progId="TCLayout.ActiveDocument.1">
                  <p:embed/>
                </p:oleObj>
              </mc:Choice>
              <mc:Fallback>
                <p:oleObj name="think-cell Folie" r:id="rId41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" name="Rechteck 154" hidden="1"/>
          <p:cNvSpPr/>
          <p:nvPr>
            <p:custDataLst>
              <p:tags r:id="rId3"/>
            </p:custDataLst>
          </p:nvPr>
        </p:nvSpPr>
        <p:spPr bwMode="auto">
          <a:xfrm>
            <a:off x="-525919" y="0"/>
            <a:ext cx="1210588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kumimoji="0" lang="en-US" sz="1000" b="0" u="none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TheSans B7 Bold"/>
              <a:sym typeface="TheSans B7 Bold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Der geplante Nutzen, speziell die Reduktion der Ausgaben im Engineering wurde nur teilweise erreicht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5598" y="558800"/>
            <a:ext cx="7314402" cy="4191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1"/>
            <a:r>
              <a:rPr lang="de-DE" dirty="0"/>
              <a:t>Nutzen aus der Modularisierung (1/2</a:t>
            </a:r>
            <a:r>
              <a:rPr lang="de-DE" dirty="0" smtClean="0"/>
              <a:t>)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de-DE" sz="1200" dirty="0" err="1" smtClean="0">
                <a:solidFill>
                  <a:schemeClr val="accent1"/>
                </a:solidFill>
              </a:rPr>
              <a:t>Arbeitsgemeinschaft</a:t>
            </a:r>
            <a:r>
              <a:rPr lang="en-US" altLang="de-DE" sz="1200" dirty="0" smtClean="0">
                <a:solidFill>
                  <a:schemeClr val="accent1"/>
                </a:solidFill>
              </a:rPr>
              <a:t> </a:t>
            </a:r>
            <a:r>
              <a:rPr lang="en-US" altLang="de-DE" sz="1200" dirty="0" err="1" smtClean="0">
                <a:solidFill>
                  <a:schemeClr val="accent1"/>
                </a:solidFill>
              </a:rPr>
              <a:t>Großanlagenbau</a:t>
            </a:r>
            <a:endParaRPr lang="en-US" alt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Seite </a:t>
            </a:r>
            <a:fld id="{F25E6A0E-1702-4519-BCA5-3343E84E9ABE}" type="slidenum">
              <a:rPr lang="en-US" altLang="de-DE" smtClean="0"/>
              <a:pPr>
                <a:defRPr/>
              </a:pPr>
              <a:t>3</a:t>
            </a:fld>
            <a:r>
              <a:rPr lang="en-US" altLang="de-DE" smtClean="0"/>
              <a:t> • </a:t>
            </a:r>
            <a:fld id="{6F815C9C-F0D6-46C8-B7FA-BCA106B22EDC}" type="datetime1">
              <a:rPr lang="de-DE" smtClean="0"/>
              <a:pPr>
                <a:defRPr/>
              </a:pPr>
              <a:t>13.06.2014</a:t>
            </a:fld>
            <a:endParaRPr lang="en-US" altLang="de-DE"/>
          </a:p>
        </p:txBody>
      </p:sp>
      <p:graphicFrame>
        <p:nvGraphicFramePr>
          <p:cNvPr id="13" name="Objekt 1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07822281"/>
              </p:ext>
            </p:extLst>
          </p:nvPr>
        </p:nvGraphicFramePr>
        <p:xfrm>
          <a:off x="2743200" y="1828801"/>
          <a:ext cx="5840725" cy="41698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13" name="Chart" r:id="rId43" imgW="5840725" imgH="4169889" progId="MSGraph.Chart.8">
                  <p:embed followColorScheme="full"/>
                </p:oleObj>
              </mc:Choice>
              <mc:Fallback>
                <p:oleObj name="Chart" r:id="rId43" imgW="5840725" imgH="416988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743200" y="1828801"/>
                        <a:ext cx="5840725" cy="41698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4" name="Textplatzhalter 314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326438" y="5972175"/>
            <a:ext cx="322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2365339-11BA-4A6F-A61D-01DFC5A9DC5F}" type="datetime'''''''''''''''''1''''''''''''0''''''''0''''%'''''''''''''''''">
              <a:rPr lang="en-US" sz="1000" b="0">
                <a:latin typeface="TheSans B7 Bold"/>
                <a:sym typeface="TheSans B7 Bold"/>
              </a:rPr>
              <a:pPr/>
              <a:t>10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502" name="Textplatzhalter 31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304088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697B2F2-FD21-45BA-B46C-48C37452C351}" type="datetime'''''''''''''''''8''''0%'''''''''">
              <a:rPr lang="en-US" sz="1000" b="0"/>
              <a:pPr/>
              <a:t>8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98" name="Textplatzhalter 308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192713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A30DA34-EF2F-4790-A55D-DAD0CFB1E344}" type="datetime'''''4''''0''''''''''''''''''''''''''''%'''">
              <a:rPr lang="en-US" sz="1000" b="0"/>
              <a:pPr/>
              <a:t>4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501" name="Textplatzhalter 311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777038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AAB91AA-5B7F-4E2B-8384-97249909CEBB}" type="datetime'''''''''''''''''''''''7''''0%'''''''''''''''''''''''''">
              <a:rPr lang="en-US" sz="1000" b="0"/>
              <a:pPr/>
              <a:t>7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500" name="Textplatzhalter 310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245225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83FB489-3C17-4C82-84E9-839A8869AA25}" type="datetime'''6''''0''''''''%'''''''''''''''''">
              <a:rPr lang="en-US" sz="1000" b="0"/>
              <a:pPr/>
              <a:t>6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97" name="Textplatzhalter 307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660900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1DB0479-28A4-4960-AD0D-C24DBD57CB47}" type="datetime'''''''''''3''0''''''%'">
              <a:rPr lang="en-US" sz="1000" b="0"/>
              <a:pPr/>
              <a:t>3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96" name="Textplatzhalter 306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133850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0D15D7E-7309-4F97-9271-BC54481853B0}" type="datetime'''''2''''''''0''''''%'''''''''''''">
              <a:rPr lang="en-US" sz="1000" b="0"/>
              <a:pPr/>
              <a:t>2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95" name="Textplatzhalter 305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603625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45D80D2-340E-4140-B8A0-8E912D782C5E}" type="datetime'''''''1''''0''''''''''''''''''''%'">
              <a:rPr lang="en-US" sz="1000" b="0"/>
              <a:pPr/>
              <a:t>1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503" name="Textplatzhalter 31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835900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BA85B47-F6F7-4B26-8068-CF5D67A5A3B6}" type="datetime'''''''''''''''''''9''''''''''0''''''''''''%'''''''">
              <a:rPr lang="en-US" sz="1000" b="0"/>
              <a:pPr/>
              <a:t>9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99" name="Textplatzhalter 309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719763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85070B9-2AF3-4E4D-AE3F-D91D3AF3948C}" type="datetime'''''''5''0%'''''''''''">
              <a:rPr lang="en-US" sz="1000" b="0"/>
              <a:pPr/>
              <a:t>5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94" name="Textplatzhalter 304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111500" y="5972175"/>
            <a:ext cx="182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D33DFBA-CAA1-48EF-841F-39F4EAB2826A}" type="datetime'''''''''''''''''''''''''0''''''''''''''''''%'''''''''''''">
              <a:rPr lang="en-US" sz="1000" b="0"/>
              <a:pPr/>
              <a:t>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cxnSp>
        <p:nvCxnSpPr>
          <p:cNvPr id="14" name="Gerader Verbinder 13"/>
          <p:cNvCxnSpPr/>
          <p:nvPr>
            <p:custDataLst>
              <p:tags r:id="rId16"/>
            </p:custDataLst>
          </p:nvPr>
        </p:nvCxnSpPr>
        <p:spPr bwMode="auto">
          <a:xfrm flipV="1">
            <a:off x="8388350" y="5746750"/>
            <a:ext cx="98425" cy="3810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platzhalter 7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473200" y="2679700"/>
            <a:ext cx="1627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80DC3417-DC81-4E1D-94D3-11A0EEDE2C06}" type="datetime'Red''u''kti''''''on der P''''rod''''u''''kt''''ko''''st''en'">
              <a:rPr lang="en-US" sz="1000" b="0"/>
              <a:pPr/>
              <a:t>Reduktion der Produktkosten</a:t>
            </a:fld>
            <a:endParaRPr lang="de-DE" sz="1000" b="0" dirty="0">
              <a:sym typeface="+mn-lt"/>
            </a:endParaRPr>
          </a:p>
        </p:txBody>
      </p:sp>
      <p:sp>
        <p:nvSpPr>
          <p:cNvPr id="12" name="Textplatzhalter 8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235075" y="3043238"/>
            <a:ext cx="18653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F150987D-3EB7-43F1-B14B-08701D781268}" type="datetime'Se''''nku''''n''g der'' inne''''''ren Komp''lex''''''i''tät'">
              <a:rPr lang="en-US" sz="1000" b="0"/>
              <a:pPr/>
              <a:t>Senkung der inneren Komplexität</a:t>
            </a:fld>
            <a:endParaRPr lang="de-DE" sz="1000" b="0" dirty="0">
              <a:sym typeface="+mn-lt"/>
            </a:endParaRPr>
          </a:p>
        </p:txBody>
      </p:sp>
      <p:sp>
        <p:nvSpPr>
          <p:cNvPr id="10" name="Textplatzhalter 6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35025" y="2316163"/>
            <a:ext cx="22653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8397EAC7-1E10-4A2B-9497-EE18D4F7AC2D}" type="datetime'''Reduktion'' d''er ''Ausgaben i''m ''''E''n''gin''e''e''ring'">
              <a:rPr lang="en-US" sz="1000" b="0"/>
              <a:pPr/>
              <a:t>Reduktion der Ausgaben im Engineering</a:t>
            </a:fld>
            <a:endParaRPr lang="de-DE" sz="1000" b="0" dirty="0">
              <a:sym typeface="+mn-lt"/>
            </a:endParaRPr>
          </a:p>
        </p:txBody>
      </p:sp>
      <p:sp>
        <p:nvSpPr>
          <p:cNvPr id="142" name="Textplatzhalter 66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76688" y="2687638"/>
            <a:ext cx="196850" cy="136525"/>
          </a:xfrm>
          <a:prstGeom prst="rect">
            <a:avLst/>
          </a:prstGeom>
          <a:solidFill>
            <a:srgbClr val="BFBFBF"/>
          </a:solidFill>
        </p:spPr>
        <p:txBody>
          <a:bodyPr wrap="none" lIns="15875" tIns="0" rIns="15875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2620DC7-DC02-4B17-A084-146B9EFE5041}" type="datetime'''''3''''''''''''%'''''''''''''''''''''''''''''">
              <a:rPr lang="en-US" sz="900" b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3%</a:t>
            </a:fld>
            <a:endParaRPr lang="de-DE" sz="900" b="0" dirty="0">
              <a:sym typeface="+mn-lt"/>
            </a:endParaRPr>
          </a:p>
        </p:txBody>
      </p:sp>
      <p:sp>
        <p:nvSpPr>
          <p:cNvPr id="26" name="Textplatzhalter 2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101725" y="3408363"/>
            <a:ext cx="1998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9353ECE3-242B-40BF-8562-F48338D0CE3E}" type="datetime'''S''''te''''ig''eru''ng der In''ter''''n''ationalisierun''g'">
              <a:rPr lang="en-US" sz="1000" b="0"/>
              <a:pPr/>
              <a:t>Steigerung der Internationalisierung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27" name="Textplatzhalter 2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590675" y="3697288"/>
            <a:ext cx="1509713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A9769A57-B528-49E8-B292-FFD86347F4D7}" type="datetime'''Ver''be''sserte Siche''rste''llung&#10;der Markta''nfor''derung'">
              <a:rPr lang="en-US" sz="1000" b="0"/>
              <a:pPr/>
              <a:t>Verbesserte Sicherstellung
der Marktanforderung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75" name="Textplatzhalter 816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871913" y="2324100"/>
            <a:ext cx="196850" cy="136525"/>
          </a:xfrm>
          <a:prstGeom prst="rect">
            <a:avLst/>
          </a:prstGeom>
          <a:solidFill>
            <a:srgbClr val="BFBFBF"/>
          </a:solidFill>
        </p:spPr>
        <p:txBody>
          <a:bodyPr wrap="none" lIns="15875" tIns="0" rIns="15875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3760930-A8ED-4996-A6B4-766C0E0CA48B}" type="datetime'''''''''''''''''''''''3''''''''%'''''''''''''''''''''''">
              <a:rPr lang="en-US" sz="900" b="0">
                <a:latin typeface="TheSans B7 Bold"/>
                <a:sym typeface="TheSans B7 Bold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3%</a:t>
            </a:fld>
            <a:endParaRPr lang="de-DE" sz="900" b="0" dirty="0">
              <a:latin typeface="TheSans B7 Bold"/>
              <a:sym typeface="TheSans B7 Bold"/>
            </a:endParaRPr>
          </a:p>
        </p:txBody>
      </p:sp>
      <p:sp useBgFill="1">
        <p:nvSpPr>
          <p:cNvPr id="62" name="Textplatzhalter 46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289925" y="5784850"/>
            <a:ext cx="196850" cy="136525"/>
          </a:xfrm>
          <a:prstGeom prst="rect">
            <a:avLst/>
          </a:prstGeom>
        </p:spPr>
        <p:txBody>
          <a:bodyPr wrap="none" lIns="15875" tIns="0" rIns="15875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2165677-4974-42B5-832E-F3DCDE784A51}" type="datetime'''''''''0''''''''''''''''''%'''''''">
              <a:rPr lang="en-US" sz="900" b="0">
                <a:latin typeface="TheSans B7 Bold"/>
                <a:sym typeface="TheSans B7 Bold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0%</a:t>
            </a:fld>
            <a:endParaRPr lang="en-US" sz="900" b="0" dirty="0">
              <a:latin typeface="TheSans B7 Bold"/>
              <a:sym typeface="TheSans B7 Bold"/>
            </a:endParaRPr>
          </a:p>
        </p:txBody>
      </p:sp>
      <p:sp>
        <p:nvSpPr>
          <p:cNvPr id="76" name="Textplatzhalter 817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246813" y="4875213"/>
            <a:ext cx="196850" cy="136525"/>
          </a:xfrm>
          <a:prstGeom prst="rect">
            <a:avLst/>
          </a:prstGeom>
          <a:solidFill>
            <a:srgbClr val="BFBFBF"/>
          </a:solidFill>
        </p:spPr>
        <p:txBody>
          <a:bodyPr wrap="none" lIns="15875" tIns="0" rIns="15875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FE9E647-2844-441C-AA95-2E73DD234880}" type="datetime'''''3''''''''''''''''''''''''''''''''''''''''''''%'''''''">
              <a:rPr lang="en-US" sz="900" b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3%</a:t>
            </a:fld>
            <a:endParaRPr lang="de-DE" sz="900" b="0" dirty="0">
              <a:sym typeface="+mn-lt"/>
            </a:endParaRPr>
          </a:p>
        </p:txBody>
      </p:sp>
      <p:sp>
        <p:nvSpPr>
          <p:cNvPr id="28" name="Textplatzhalter 2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495425" y="4064000"/>
            <a:ext cx="1604963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91AB9DE-F265-4EDC-95B7-EA4882D0CDBA}" type="datetime'''Reduktio''n'' de''r Au''sga''ben ''für &#10;Bau un''d Montag''e'">
              <a:rPr lang="en-US" sz="1000" b="0"/>
              <a:pPr/>
              <a:t>Reduktion der Ausgaben für 
Bau und Montage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31" name="Textplatzhalter 26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450975" y="5156200"/>
            <a:ext cx="1649413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217B2C9A-19F0-4DC5-8BFA-7083C8832EC0}" type="datetime'Ste''igerung der Outscourcing-&#10;Möglichke''it im Engineering'''">
              <a:rPr lang="en-US" sz="1000" b="0"/>
              <a:pPr/>
              <a:t>Steigerung der Outscourcing-
Möglichkeit im Engineering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69" name="Textplatzhalter 629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443038" y="4503738"/>
            <a:ext cx="16573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F56E3AF0-9C94-432E-B8BA-D66C3EB8940E}" type="datetime'S''icher''''s''te''''''llu''''ng'''' ''vo''n ''Know-''h''ow'">
              <a:rPr lang="en-US" sz="1000" b="0" smtClean="0"/>
              <a:pPr/>
              <a:t>Sicherstellung von Know-how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30" name="Textplatzhalter 25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450975" y="4791075"/>
            <a:ext cx="1649413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B8B11CAE-F314-4FBC-A1C3-644813418545}" type="datetime'Stei''gerung der Outscou''rcing-&#10;Möglichkeit in der Fertigung'">
              <a:rPr lang="en-US" sz="1000" b="0"/>
              <a:pPr/>
              <a:t>Steigerung der Outscourcing-
Möglichkeit in der Fertigung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32" name="Textplatzhalter 27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220788" y="5595938"/>
            <a:ext cx="18796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45700B0E-0337-4F8E-AFA7-9B014F1FE352}" type="datetime'''''E''ffekti''''ve Ab''de''cku''n''g von'' Ni''s''che''n'''">
              <a:rPr lang="en-US" sz="1000" b="0" smtClean="0"/>
              <a:pPr/>
              <a:t>Effektive Abdeckung von Nischen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8" name="Rechteck 7"/>
          <p:cNvSpPr/>
          <p:nvPr>
            <p:custDataLst>
              <p:tags r:id="rId31"/>
            </p:custDataLst>
          </p:nvPr>
        </p:nvSpPr>
        <p:spPr bwMode="auto">
          <a:xfrm>
            <a:off x="7532688" y="6291263"/>
            <a:ext cx="179387" cy="133350"/>
          </a:xfrm>
          <a:prstGeom prst="rect">
            <a:avLst/>
          </a:prstGeom>
          <a:solidFill>
            <a:srgbClr val="69696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7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heSans B7 Bold" pitchFamily="34" charset="0"/>
            </a:endParaRPr>
          </a:p>
        </p:txBody>
      </p:sp>
      <p:sp>
        <p:nvSpPr>
          <p:cNvPr id="492" name="Rechteck 491"/>
          <p:cNvSpPr/>
          <p:nvPr>
            <p:custDataLst>
              <p:tags r:id="rId32"/>
            </p:custDataLst>
          </p:nvPr>
        </p:nvSpPr>
        <p:spPr bwMode="auto">
          <a:xfrm>
            <a:off x="6215063" y="6291263"/>
            <a:ext cx="179387" cy="133350"/>
          </a:xfrm>
          <a:prstGeom prst="rect">
            <a:avLst/>
          </a:prstGeom>
          <a:solidFill>
            <a:srgbClr val="93939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7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heSans B7 Bold" pitchFamily="34" charset="0"/>
            </a:endParaRPr>
          </a:p>
        </p:txBody>
      </p:sp>
      <p:sp>
        <p:nvSpPr>
          <p:cNvPr id="6" name="Rechteck 5"/>
          <p:cNvSpPr/>
          <p:nvPr>
            <p:custDataLst>
              <p:tags r:id="rId33"/>
            </p:custDataLst>
          </p:nvPr>
        </p:nvSpPr>
        <p:spPr bwMode="auto">
          <a:xfrm>
            <a:off x="5137150" y="6291263"/>
            <a:ext cx="179388" cy="133350"/>
          </a:xfrm>
          <a:prstGeom prst="rect">
            <a:avLst/>
          </a:prstGeom>
          <a:solidFill>
            <a:srgbClr val="BFBFB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7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heSans B7 Bold" pitchFamily="34" charset="0"/>
            </a:endParaRPr>
          </a:p>
        </p:txBody>
      </p:sp>
      <p:sp>
        <p:nvSpPr>
          <p:cNvPr id="7" name="Rechteck 6"/>
          <p:cNvSpPr/>
          <p:nvPr>
            <p:custDataLst>
              <p:tags r:id="rId34"/>
            </p:custDataLst>
          </p:nvPr>
        </p:nvSpPr>
        <p:spPr bwMode="auto">
          <a:xfrm>
            <a:off x="3486150" y="6291263"/>
            <a:ext cx="179388" cy="133350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7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heSans B7 Bold" pitchFamily="34" charset="0"/>
            </a:endParaRPr>
          </a:p>
        </p:txBody>
      </p:sp>
      <p:sp>
        <p:nvSpPr>
          <p:cNvPr id="90" name="Textplatzhalter 55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762875" y="6288088"/>
            <a:ext cx="668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EA100AF2-E264-4804-9D73-FA0D00429111}" type="datetime'V''o''l''l'''' ''''''e''rr''''''e''i''''''c''''''h''t'''''''">
              <a:rPr lang="en-US" sz="1000" b="0"/>
              <a:pPr/>
              <a:t>Voll erreicht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87" name="Textplatzhalter 301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445250" y="6288088"/>
            <a:ext cx="985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E591C8D4-861F-4911-8C34-C7679737CD28}" type="datetime'Te''i''lwe''''i''''''''''s''e'' erreich''''''t'''''''">
              <a:rPr lang="en-US" sz="1000" b="0"/>
              <a:pPr/>
              <a:t>Teilweise erreicht</a:t>
            </a:fld>
            <a:endParaRPr lang="de-DE" sz="1000" b="0" dirty="0">
              <a:sym typeface="+mn-lt"/>
            </a:endParaRPr>
          </a:p>
        </p:txBody>
      </p:sp>
      <p:sp>
        <p:nvSpPr>
          <p:cNvPr id="70" name="Textplatzhalter 598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716338" y="6288088"/>
            <a:ext cx="13192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7E9076C3-4E55-40FE-A3DF-716C9DB2B535}" type="datetime'''Kei''''ne ''''''''Aus''sa''ge'''''''' mögl''ic''''''''h'''''">
              <a:rPr lang="en-US" sz="1000" b="0"/>
              <a:pPr/>
              <a:t>Keine Aussage möglich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68" name="Textplatzhalter 597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367338" y="6288088"/>
            <a:ext cx="7461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39F235B4-107A-4736-BCD3-D1A39FBC62FD}" type="datetime'Nic''''h''''''''''''''t ''''''er''re''''''i''''''''ch''t'''''">
              <a:rPr lang="en-US" sz="1000" b="0"/>
              <a:pPr/>
              <a:t>Nicht erreicht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60" name="Inhaltsplatzhalter 2"/>
          <p:cNvSpPr txBox="1">
            <a:spLocks/>
          </p:cNvSpPr>
          <p:nvPr/>
        </p:nvSpPr>
        <p:spPr bwMode="gray">
          <a:xfrm>
            <a:off x="467544" y="1589062"/>
            <a:ext cx="8208912" cy="504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90000" rIns="90000" bIns="90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marL="0" lvl="1" indent="15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defRPr sz="1400"/>
            </a:lvl2pPr>
          </a:lstStyle>
          <a:p>
            <a:pPr lvl="1"/>
            <a:r>
              <a:rPr lang="de-DE" dirty="0"/>
              <a:t>Wurden die angestrebten Ziele erreicht? – Strategie und Positionierung </a:t>
            </a:r>
          </a:p>
        </p:txBody>
      </p:sp>
    </p:spTree>
    <p:extLst>
      <p:ext uri="{BB962C8B-B14F-4D97-AF65-F5344CB8AC3E}">
        <p14:creationId xmlns:p14="http://schemas.microsoft.com/office/powerpoint/2010/main" val="1674792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9" name="Objekt 1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747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2" name="think-cell Folie" r:id="rId42" imgW="136" imgH="136" progId="TCLayout.ActiveDocument.1">
                  <p:embed/>
                </p:oleObj>
              </mc:Choice>
              <mc:Fallback>
                <p:oleObj name="think-cell Folie" r:id="rId42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" name="Rechteck 154" hidden="1"/>
          <p:cNvSpPr/>
          <p:nvPr>
            <p:custDataLst>
              <p:tags r:id="rId3"/>
            </p:custDataLst>
          </p:nvPr>
        </p:nvSpPr>
        <p:spPr bwMode="auto">
          <a:xfrm>
            <a:off x="-525919" y="0"/>
            <a:ext cx="1210588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kumimoji="0" lang="en-US" sz="1000" b="0" u="none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TheSans B7 Bold"/>
              <a:sym typeface="TheSans B7 Bold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Prozesse konnten effizienter gestaltet werden</a:t>
            </a:r>
            <a:endParaRPr lang="de-DE" dirty="0"/>
          </a:p>
        </p:txBody>
      </p:sp>
      <p:sp>
        <p:nvSpPr>
          <p:cNvPr id="75" name="Titel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1"/>
            <a:r>
              <a:rPr lang="de-DE" dirty="0"/>
              <a:t>Nutzen aus der </a:t>
            </a:r>
            <a:r>
              <a:rPr lang="de-DE" dirty="0" smtClean="0">
                <a:solidFill>
                  <a:schemeClr val="tx1"/>
                </a:solidFill>
              </a:rPr>
              <a:t>Modularisierung (2/2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de-DE" sz="1200" dirty="0" err="1" smtClean="0">
                <a:solidFill>
                  <a:schemeClr val="accent1"/>
                </a:solidFill>
              </a:rPr>
              <a:t>Arbeitsgemeinschaft</a:t>
            </a:r>
            <a:r>
              <a:rPr lang="en-US" altLang="de-DE" sz="1200" dirty="0" smtClean="0">
                <a:solidFill>
                  <a:schemeClr val="accent1"/>
                </a:solidFill>
              </a:rPr>
              <a:t> </a:t>
            </a:r>
            <a:r>
              <a:rPr lang="en-US" altLang="de-DE" sz="1200" dirty="0" err="1" smtClean="0">
                <a:solidFill>
                  <a:schemeClr val="accent1"/>
                </a:solidFill>
              </a:rPr>
              <a:t>Großanlagenbau</a:t>
            </a:r>
            <a:endParaRPr lang="en-US" alt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Seite </a:t>
            </a:r>
            <a:fld id="{F25E6A0E-1702-4519-BCA5-3343E84E9ABE}" type="slidenum">
              <a:rPr lang="en-US" altLang="de-DE" smtClean="0"/>
              <a:pPr>
                <a:defRPr/>
              </a:pPr>
              <a:t>4</a:t>
            </a:fld>
            <a:r>
              <a:rPr lang="en-US" altLang="de-DE" smtClean="0"/>
              <a:t> • </a:t>
            </a:r>
            <a:fld id="{6F815C9C-F0D6-46C8-B7FA-BCA106B22EDC}" type="datetime1">
              <a:rPr lang="de-DE" smtClean="0"/>
              <a:pPr>
                <a:defRPr/>
              </a:pPr>
              <a:t>13.06.2014</a:t>
            </a:fld>
            <a:endParaRPr lang="en-US" altLang="de-DE"/>
          </a:p>
        </p:txBody>
      </p:sp>
      <p:graphicFrame>
        <p:nvGraphicFramePr>
          <p:cNvPr id="13" name="Objekt 1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98045460"/>
              </p:ext>
            </p:extLst>
          </p:nvPr>
        </p:nvGraphicFramePr>
        <p:xfrm>
          <a:off x="2743200" y="1828801"/>
          <a:ext cx="5840725" cy="41698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3" name="Chart" r:id="rId44" imgW="5840725" imgH="4169889" progId="MSGraph.Chart.8">
                  <p:embed followColorScheme="full"/>
                </p:oleObj>
              </mc:Choice>
              <mc:Fallback>
                <p:oleObj name="Chart" r:id="rId44" imgW="5840725" imgH="416988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743200" y="1828801"/>
                        <a:ext cx="5840725" cy="41698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7" name="Textplatzhalter 307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660900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1DB0479-28A4-4960-AD0D-C24DBD57CB47}" type="datetime'''''''''''3''0''''''%'">
              <a:rPr lang="en-US" sz="1000" b="0"/>
              <a:pPr/>
              <a:t>3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94" name="Textplatzhalter 304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111500" y="5972175"/>
            <a:ext cx="182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D33DFBA-CAA1-48EF-841F-39F4EAB2826A}" type="datetime'''''''''''''''''''''''''0''''''''''''''''''%'''''''''''''">
              <a:rPr lang="en-US" sz="1000" b="0"/>
              <a:pPr/>
              <a:t>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96" name="Textplatzhalter 306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33850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0D15D7E-7309-4F97-9271-BC54481853B0}" type="datetime'''''2''''''''0''''''%'''''''''''''">
              <a:rPr lang="en-US" sz="1000" b="0"/>
              <a:pPr/>
              <a:t>2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95" name="Textplatzhalter 305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603625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45D80D2-340E-4140-B8A0-8E912D782C5E}" type="datetime'''''''1''''0''''''''''''''''''''%'">
              <a:rPr lang="en-US" sz="1000" b="0"/>
              <a:pPr/>
              <a:t>1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503" name="Textplatzhalter 31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835900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BA85B47-F6F7-4B26-8068-CF5D67A5A3B6}" type="datetime'''''''''''''''''''9''''''''''0''''''''''''%'''''''">
              <a:rPr lang="en-US" sz="1000" b="0"/>
              <a:pPr/>
              <a:t>9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98" name="Textplatzhalter 308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192713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A30DA34-EF2F-4790-A55D-DAD0CFB1E344}" type="datetime'''''4''''0''''''''''''''''''''''''''''%'''">
              <a:rPr lang="en-US" sz="1000" b="0"/>
              <a:pPr/>
              <a:t>4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501" name="Textplatzhalter 31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777038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AAB91AA-5B7F-4E2B-8384-97249909CEBB}" type="datetime'''''''''''''''''''''''7''''0%'''''''''''''''''''''''''">
              <a:rPr lang="en-US" sz="1000" b="0"/>
              <a:pPr/>
              <a:t>7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99" name="Textplatzhalter 309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719763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85070B9-2AF3-4E4D-AE3F-D91D3AF3948C}" type="datetime'''''''5''0%'''''''''''">
              <a:rPr lang="en-US" sz="1000" b="0"/>
              <a:pPr/>
              <a:t>5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504" name="Textplatzhalter 314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326438" y="5972175"/>
            <a:ext cx="322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2365339-11BA-4A6F-A61D-01DFC5A9DC5F}" type="datetime'''''''''''''''''1''''''''''''0''''''''0''''%'''''''''''''''''">
              <a:rPr lang="en-US" sz="1000" b="0">
                <a:latin typeface="TheSans B7 Bold"/>
                <a:sym typeface="TheSans B7 Bold"/>
              </a:rPr>
              <a:pPr/>
              <a:t>10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500" name="Textplatzhalter 310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245225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83FB489-3C17-4C82-84E9-839A8869AA25}" type="datetime'''6''''0''''''''%'''''''''''''''''">
              <a:rPr lang="en-US" sz="1000" b="0"/>
              <a:pPr/>
              <a:t>6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502" name="Textplatzhalter 3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304088" y="5972175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697B2F2-FD21-45BA-B46C-48C37452C351}" type="datetime'''''''''''''''''8''''0%'''''''''">
              <a:rPr lang="en-US" sz="1000" b="0"/>
              <a:pPr/>
              <a:t>80%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62" name="Textplatzhalter 84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547813" y="5561013"/>
            <a:ext cx="15525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05D88923-F7FE-4D82-9053-D1D333EF2F49}" type="datetime'Kür''z''ere Entwicklungs''zeiten&#10;(schnelle''re Inno''vation)'">
              <a:rPr lang="en-US" sz="1000" b="0">
                <a:latin typeface="TheSans B7 Bold"/>
                <a:sym typeface="TheSans B7 Bold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Kürzere Entwicklungszeiten
(schnellere Innovation)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69" name="Textplatzhalter 629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23938" y="4719638"/>
            <a:ext cx="20764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de-DE" sz="1000" b="0" dirty="0"/>
              <a:t>Vereinfachung von Serviceaktivitäten</a:t>
            </a:r>
            <a:br>
              <a:rPr lang="de-DE" sz="1000" b="0" dirty="0"/>
            </a:br>
            <a:r>
              <a:rPr lang="de-DE" sz="1000" b="0" dirty="0"/>
              <a:t>(z. B. für Ersatzteile)</a:t>
            </a:r>
            <a:endParaRPr lang="de-DE" sz="1000" b="0" dirty="0">
              <a:sym typeface="TheSans B7 Bold"/>
            </a:endParaRPr>
          </a:p>
        </p:txBody>
      </p:sp>
      <p:sp>
        <p:nvSpPr>
          <p:cNvPr id="60" name="Textplatzhalter 839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1038" y="5076825"/>
            <a:ext cx="24193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0492C1FB-F5BB-4F09-A259-4BC1CFF62D9E}" type="datetime'Verbe''''s''serte Fortsc''hritt''skontrolle'''' im ''Projekt'">
              <a:rPr lang="en-US" sz="1000" b="0">
                <a:latin typeface="TheSans B7 Bold"/>
                <a:sym typeface="TheSans B7 Bold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Verbesserte Fortschrittskontrolle im Projekt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72" name="Textplatzhalter 847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308975" y="5364163"/>
            <a:ext cx="196850" cy="136525"/>
          </a:xfrm>
          <a:prstGeom prst="rect">
            <a:avLst/>
          </a:prstGeom>
          <a:solidFill>
            <a:srgbClr val="696969"/>
          </a:solidFill>
        </p:spPr>
        <p:txBody>
          <a:bodyPr wrap="none" lIns="15875" tIns="0" rIns="15875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6F89B23-3D63-42CE-BD28-5D5E8BB420C8}" type="datetime'''3''''''''''%'''''''''''">
              <a:rPr lang="en-US" sz="900" b="0">
                <a:solidFill>
                  <a:schemeClr val="bg1"/>
                </a:solidFill>
                <a:latin typeface="TheSans B7 Bold"/>
                <a:sym typeface="TheSans B7 Bold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3%</a:t>
            </a:fld>
            <a:endParaRPr lang="de-DE" sz="900" b="0" dirty="0">
              <a:solidFill>
                <a:schemeClr val="bg1"/>
              </a:solidFill>
              <a:latin typeface="TheSans B7 Bold"/>
              <a:sym typeface="TheSans B7 Bold"/>
            </a:endParaRPr>
          </a:p>
        </p:txBody>
      </p:sp>
      <p:sp>
        <p:nvSpPr>
          <p:cNvPr id="61" name="Textplatzhalter 840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87425" y="5356225"/>
            <a:ext cx="2112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17AB0580-1B97-4297-9A63-96CFB0E24B9C}" type="datetime'''Effi''''zi''ent''es ''R''e''qu''irem''en''t ''Manage''ment'">
              <a:rPr lang="en-US" sz="1000" b="0">
                <a:latin typeface="TheSans B7 Bold"/>
                <a:sym typeface="TheSans B7 Bold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Effizientes Requirement Management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113" name="Textplatzhalter 645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308975" y="4803775"/>
            <a:ext cx="196850" cy="136525"/>
          </a:xfrm>
          <a:prstGeom prst="rect">
            <a:avLst/>
          </a:prstGeom>
          <a:solidFill>
            <a:srgbClr val="696969"/>
          </a:solidFill>
        </p:spPr>
        <p:txBody>
          <a:bodyPr wrap="none" lIns="15875" tIns="0" rIns="15875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583A4F8-2C80-4276-A47B-1F1FF2ADC821}" type="datetime'''''''''''''''''''''3%'">
              <a:rPr lang="en-US" sz="900" b="0">
                <a:solidFill>
                  <a:schemeClr val="bg1"/>
                </a:solidFill>
              </a:rPr>
              <a:pPr/>
              <a:t>3%</a:t>
            </a:fld>
            <a:endParaRPr lang="de-DE" sz="900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8" name="Textplatzhalter 2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222375" y="4159250"/>
            <a:ext cx="1878013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B04F9D4C-B8BC-4E3A-BC04-381AAD763743}" type="datetime'''Vereinfachu''ng ''und Verbesse''rung''&#10;der'' Supply Cha''in'">
              <a:rPr lang="en-US" sz="1000" b="0" smtClean="0"/>
              <a:pPr/>
              <a:t>Vereinfachung und Verbesserung
der Supply Chain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111" name="Textplatzhalter 64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308975" y="4243388"/>
            <a:ext cx="196850" cy="136525"/>
          </a:xfrm>
          <a:prstGeom prst="rect">
            <a:avLst/>
          </a:prstGeom>
          <a:solidFill>
            <a:srgbClr val="696969"/>
          </a:solidFill>
        </p:spPr>
        <p:txBody>
          <a:bodyPr wrap="none" lIns="15875" tIns="0" rIns="15875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05A3A03-E452-41F7-8114-3E6BF05DECCF}" type="datetime'''''''''''3''''''''''''%'''''''''''''''">
              <a:rPr lang="en-US" sz="900" b="0">
                <a:solidFill>
                  <a:schemeClr val="bg1"/>
                </a:solidFill>
              </a:rPr>
              <a:pPr/>
              <a:t>3%</a:t>
            </a:fld>
            <a:endParaRPr lang="de-DE" sz="900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6" name="Textplatzhalter 21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389063" y="3040063"/>
            <a:ext cx="171132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D9AFC5B0-ED39-463B-A637-1DCF518616C9}" type="datetime'Verbesserung der ''tech''nischen&#10;Angebotsspe''z''i''fikation'">
              <a:rPr lang="en-US" sz="1000" b="0"/>
              <a:pPr/>
              <a:t>Verbesserung der technischen
Angebotsspezifikation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12" name="Textplatzhalter 8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582738" y="2835275"/>
            <a:ext cx="15176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49729FD1-1CB8-4F17-A2A8-81E517E9035E}" type="datetime'Kü''r''''''''zer''e ''''A''bwickl''''''''ungszei''t''''e''''n'">
              <a:rPr lang="en-US" sz="1000" b="0"/>
              <a:pPr/>
              <a:t>Kürzere Abwicklungszeiten</a:t>
            </a:fld>
            <a:endParaRPr lang="de-DE" sz="1000" b="0" dirty="0">
              <a:sym typeface="+mn-lt"/>
            </a:endParaRPr>
          </a:p>
        </p:txBody>
      </p:sp>
      <p:sp>
        <p:nvSpPr>
          <p:cNvPr id="10" name="Textplatzhalter 6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389063" y="2274888"/>
            <a:ext cx="17113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38B2CBB4-A4A9-45F3-84F5-DE2EFEF3ED8F}" type="datetime'''Sch''''''''nel''l''''ere'' Angeb''ots''e''r''''''stell''ung'">
              <a:rPr lang="en-US" sz="1000" b="0"/>
              <a:pPr/>
              <a:t>Schnellere Angebotserstellung</a:t>
            </a:fld>
            <a:endParaRPr lang="de-DE" sz="1000" b="0" dirty="0">
              <a:sym typeface="+mn-lt"/>
            </a:endParaRPr>
          </a:p>
        </p:txBody>
      </p:sp>
      <p:sp>
        <p:nvSpPr>
          <p:cNvPr id="11" name="Textplatzhalter 7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76313" y="2555875"/>
            <a:ext cx="21240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BE5E00D9-03B7-4146-BDDE-BF41C46E12A2}" type="datetime'Erhöhu''ng'' de''''''r Kalkul''a''t''io''n''sge''nauigkeit'''">
              <a:rPr lang="en-US" sz="1000" b="0"/>
              <a:pPr/>
              <a:t>Erhöhung der Kalkulationsgenauigkeit</a:t>
            </a:fld>
            <a:endParaRPr lang="de-DE" sz="1000" b="0" dirty="0">
              <a:sym typeface="+mn-lt"/>
            </a:endParaRPr>
          </a:p>
        </p:txBody>
      </p:sp>
      <p:sp>
        <p:nvSpPr>
          <p:cNvPr id="77" name="Textplatzhalter 48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17525" y="3956050"/>
            <a:ext cx="2582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3732BFC7-70EE-4D51-93F7-0656C154DC1D}" type="datetime'''Durchgängige ''Prozess- u.'' Planungsstruktur''''e''n'">
              <a:rPr lang="en-US" sz="1000" b="0"/>
              <a:pPr/>
              <a:t>Durchgängige Prozess- u. Planungsstrukturen</a:t>
            </a:fld>
            <a:endParaRPr lang="en-US" sz="1000" b="0" dirty="0">
              <a:latin typeface="TheSans B7 Bold"/>
              <a:sym typeface="TheSans B7 Bold"/>
            </a:endParaRPr>
          </a:p>
        </p:txBody>
      </p:sp>
      <p:sp>
        <p:nvSpPr>
          <p:cNvPr id="76" name="Textplatzhalter 47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41338" y="3676650"/>
            <a:ext cx="2559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DAEE2ED-71A0-48E9-9DD1-B87C544A04C6}" type="datetime'Ver''''minder''u''ng der F''ehll''eistung''''skoste''n (NCC)'">
              <a:rPr lang="en-US" sz="1000" b="0"/>
              <a:pPr/>
              <a:t>Verminderung der Fehlleistungskosten (NCC)</a:t>
            </a:fld>
            <a:endParaRPr lang="en-US" sz="1000" b="0" dirty="0">
              <a:latin typeface="TheSans B7 Bold"/>
              <a:sym typeface="TheSans B7 Bold"/>
            </a:endParaRPr>
          </a:p>
        </p:txBody>
      </p:sp>
      <p:sp>
        <p:nvSpPr>
          <p:cNvPr id="78" name="Textplatzhalter 49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93763" y="4516438"/>
            <a:ext cx="2206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7424CC75-252B-4CC8-BA6B-48DDDD24558A}" type="datetime'Verbess''''er''u''ng de''''r Know''-h''ow''''''-Tra''nsfers'''">
              <a:rPr lang="en-US" sz="1000" b="0"/>
              <a:pPr/>
              <a:t>Verbesserung der Know-how-Transfers</a:t>
            </a:fld>
            <a:endParaRPr lang="en-US" sz="1000" b="0" dirty="0">
              <a:latin typeface="TheSans B7 Bold"/>
              <a:sym typeface="TheSans B7 Bold"/>
            </a:endParaRPr>
          </a:p>
        </p:txBody>
      </p:sp>
      <p:sp>
        <p:nvSpPr>
          <p:cNvPr id="27" name="Textplatzhalter 2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803400" y="3395663"/>
            <a:ext cx="1296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A3AB793B-9206-4737-9A22-050CE27351C4}" type="datetime'''''''''''St''''''eig''e''r''ung ''de''r Q''ua''l''i''tä''''t'">
              <a:rPr lang="en-US" sz="1000" b="0"/>
              <a:pPr/>
              <a:t>Steigerung der Qualität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7" name="Rechteck 6"/>
          <p:cNvSpPr/>
          <p:nvPr>
            <p:custDataLst>
              <p:tags r:id="rId32"/>
            </p:custDataLst>
          </p:nvPr>
        </p:nvSpPr>
        <p:spPr bwMode="auto">
          <a:xfrm>
            <a:off x="3486150" y="6291263"/>
            <a:ext cx="179388" cy="133350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7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heSans B7 Bold" pitchFamily="34" charset="0"/>
            </a:endParaRPr>
          </a:p>
        </p:txBody>
      </p:sp>
      <p:sp>
        <p:nvSpPr>
          <p:cNvPr id="8" name="Rechteck 7"/>
          <p:cNvSpPr/>
          <p:nvPr>
            <p:custDataLst>
              <p:tags r:id="rId33"/>
            </p:custDataLst>
          </p:nvPr>
        </p:nvSpPr>
        <p:spPr bwMode="auto">
          <a:xfrm>
            <a:off x="7532688" y="6291263"/>
            <a:ext cx="179387" cy="133350"/>
          </a:xfrm>
          <a:prstGeom prst="rect">
            <a:avLst/>
          </a:prstGeom>
          <a:solidFill>
            <a:srgbClr val="69696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7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heSans B7 Bold" pitchFamily="34" charset="0"/>
            </a:endParaRPr>
          </a:p>
        </p:txBody>
      </p:sp>
      <p:sp>
        <p:nvSpPr>
          <p:cNvPr id="492" name="Rechteck 491"/>
          <p:cNvSpPr/>
          <p:nvPr>
            <p:custDataLst>
              <p:tags r:id="rId34"/>
            </p:custDataLst>
          </p:nvPr>
        </p:nvSpPr>
        <p:spPr bwMode="auto">
          <a:xfrm>
            <a:off x="6215063" y="6291263"/>
            <a:ext cx="179387" cy="133350"/>
          </a:xfrm>
          <a:prstGeom prst="rect">
            <a:avLst/>
          </a:prstGeom>
          <a:solidFill>
            <a:srgbClr val="93939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7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heSans B7 Bold" pitchFamily="34" charset="0"/>
            </a:endParaRPr>
          </a:p>
        </p:txBody>
      </p:sp>
      <p:sp>
        <p:nvSpPr>
          <p:cNvPr id="6" name="Rechteck 5"/>
          <p:cNvSpPr/>
          <p:nvPr>
            <p:custDataLst>
              <p:tags r:id="rId35"/>
            </p:custDataLst>
          </p:nvPr>
        </p:nvSpPr>
        <p:spPr bwMode="auto">
          <a:xfrm>
            <a:off x="5137150" y="6291263"/>
            <a:ext cx="179388" cy="133350"/>
          </a:xfrm>
          <a:prstGeom prst="rect">
            <a:avLst/>
          </a:prstGeom>
          <a:solidFill>
            <a:srgbClr val="BFBFB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7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heSans B7 Bold" pitchFamily="34" charset="0"/>
            </a:endParaRPr>
          </a:p>
        </p:txBody>
      </p:sp>
      <p:sp>
        <p:nvSpPr>
          <p:cNvPr id="68" name="Textplatzhalter 597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367338" y="6288088"/>
            <a:ext cx="7461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E31ABB0E-53F4-4676-9B30-3341D0A3F8C7}" type="datetime'N''''''''icht e''''''''''''''''r''rei''''''''c''''h''t'''''">
              <a:rPr lang="en-US" sz="1000" b="0"/>
              <a:pPr/>
              <a:t>Nicht erreicht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90" name="Textplatzhalter 55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762875" y="6288088"/>
            <a:ext cx="668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6E498E16-12F9-4152-87EF-032EE6E89EE0}" type="datetime'V''''''''o''''''l''l'''''''' errei''c''''h''''''''''''''t'">
              <a:rPr lang="en-US" sz="1000" b="0"/>
              <a:pPr/>
              <a:t>Voll erreicht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70" name="Textplatzhalter 598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716338" y="6288088"/>
            <a:ext cx="13192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51C57220-F3F0-44DC-B5D6-4010669D7C7B}" type="datetime'Keine'' Auss''ag''''''e'''''''''''' mög''''l''i''''''c''h'">
              <a:rPr lang="en-US" sz="1000" b="0"/>
              <a:pPr/>
              <a:t>Keine Aussage möglich</a:t>
            </a:fld>
            <a:endParaRPr lang="de-DE" sz="1000" b="0" dirty="0">
              <a:latin typeface="TheSans B7 Bold"/>
              <a:sym typeface="TheSans B7 Bold"/>
            </a:endParaRPr>
          </a:p>
        </p:txBody>
      </p:sp>
      <p:sp>
        <p:nvSpPr>
          <p:cNvPr id="487" name="Textplatzhalter 301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445250" y="6288088"/>
            <a:ext cx="985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E208283D-56C6-4106-A219-00D7D5FC398C}" type="datetime'''''''Te''''ilw''''e''is''''''e e''''''''''''r''''''r''eicht'">
              <a:rPr lang="en-US" sz="1000" b="0"/>
              <a:pPr/>
              <a:t>Teilweise erreicht</a:t>
            </a:fld>
            <a:endParaRPr lang="de-DE" sz="1000" b="0" dirty="0">
              <a:sym typeface="+mn-lt"/>
            </a:endParaRPr>
          </a:p>
        </p:txBody>
      </p:sp>
      <p:sp>
        <p:nvSpPr>
          <p:cNvPr id="71" name="Inhaltsplatzhalter 2"/>
          <p:cNvSpPr txBox="1">
            <a:spLocks/>
          </p:cNvSpPr>
          <p:nvPr/>
        </p:nvSpPr>
        <p:spPr bwMode="gray">
          <a:xfrm>
            <a:off x="467544" y="1589062"/>
            <a:ext cx="8208912" cy="504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90000" rIns="90000" bIns="90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marL="0" lvl="1" indent="15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defRPr sz="1400"/>
            </a:lvl2pPr>
          </a:lstStyle>
          <a:p>
            <a:pPr lvl="1"/>
            <a:r>
              <a:rPr lang="de-DE" dirty="0"/>
              <a:t>Wurden die angestrebten Ziele erreicht? – Effizientere Prozesse </a:t>
            </a:r>
          </a:p>
        </p:txBody>
      </p:sp>
    </p:spTree>
    <p:extLst>
      <p:ext uri="{BB962C8B-B14F-4D97-AF65-F5344CB8AC3E}">
        <p14:creationId xmlns:p14="http://schemas.microsoft.com/office/powerpoint/2010/main" val="32644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9" name="Objekt 1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2697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08" name="think-cell Folie" r:id="rId19" imgW="136" imgH="136" progId="TCLayout.ActiveDocument.1">
                  <p:embed/>
                </p:oleObj>
              </mc:Choice>
              <mc:Fallback>
                <p:oleObj name="think-cell Folie" r:id="rId19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" name="Rechteck 154" hidden="1"/>
          <p:cNvSpPr/>
          <p:nvPr>
            <p:custDataLst>
              <p:tags r:id="rId3"/>
            </p:custDataLst>
          </p:nvPr>
        </p:nvSpPr>
        <p:spPr bwMode="auto">
          <a:xfrm>
            <a:off x="-525919" y="0"/>
            <a:ext cx="1210588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kumimoji="0" lang="en-US" sz="1400" u="none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de-DE" sz="1200" smtClean="0">
                <a:solidFill>
                  <a:schemeClr val="accent1"/>
                </a:solidFill>
              </a:rPr>
              <a:t>Arbeitsgemeinschaft Großanlagenbau</a:t>
            </a:r>
            <a:endParaRPr lang="en-US" altLang="de-DE" sz="1200" smtClean="0">
              <a:solidFill>
                <a:schemeClr val="accent1"/>
              </a:solidFill>
              <a:latin typeface="+mn-lt"/>
            </a:endParaRPr>
          </a:p>
          <a:p>
            <a:pPr>
              <a:defRPr/>
            </a:pPr>
            <a:endParaRPr lang="en-US" alt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Seite </a:t>
            </a:r>
            <a:fld id="{F25E6A0E-1702-4519-BCA5-3343E84E9ABE}" type="slidenum">
              <a:rPr lang="en-US" altLang="de-DE" smtClean="0"/>
              <a:pPr>
                <a:defRPr/>
              </a:pPr>
              <a:t>5</a:t>
            </a:fld>
            <a:r>
              <a:rPr lang="en-US" altLang="de-DE" smtClean="0"/>
              <a:t> • </a:t>
            </a:r>
            <a:fld id="{6F815C9C-F0D6-46C8-B7FA-BCA106B22EDC}" type="datetime1">
              <a:rPr lang="de-DE" smtClean="0"/>
              <a:pPr>
                <a:defRPr/>
              </a:pPr>
              <a:t>13.06.2014</a:t>
            </a:fld>
            <a:endParaRPr lang="en-US" altLang="de-DE"/>
          </a:p>
        </p:txBody>
      </p:sp>
      <p:sp>
        <p:nvSpPr>
          <p:cNvPr id="11" name="Inhaltsplatzhalter 2"/>
          <p:cNvSpPr txBox="1">
            <a:spLocks/>
          </p:cNvSpPr>
          <p:nvPr/>
        </p:nvSpPr>
        <p:spPr bwMode="gray">
          <a:xfrm>
            <a:off x="467544" y="1589062"/>
            <a:ext cx="8208912" cy="504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90000" rIns="90000" bIns="90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marL="0" lvl="1" indent="15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defRPr sz="1400"/>
            </a:lvl2pPr>
          </a:lstStyle>
          <a:p>
            <a:pPr lvl="1"/>
            <a:r>
              <a:rPr lang="de-DE" dirty="0"/>
              <a:t>Um wieviel Prozent konnte Ihr Gesamtergebnis im relevanten Geschäftsbereich durch den Einsatz von Modularisierung und Standardisierung verbessert werden?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05598" y="558800"/>
            <a:ext cx="7506762" cy="419100"/>
          </a:xfrm>
        </p:spPr>
        <p:txBody>
          <a:bodyPr/>
          <a:lstStyle/>
          <a:p>
            <a:r>
              <a:rPr lang="de-DE" dirty="0" smtClean="0"/>
              <a:t>Gesamtergebnis - Relevanter Geschäftsbereich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 bwMode="auto">
          <a:xfrm>
            <a:off x="467544" y="2093062"/>
            <a:ext cx="8208963" cy="3991756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TheSans B7 Bold" pitchFamily="34" charset="0"/>
            </a:endParaRPr>
          </a:p>
        </p:txBody>
      </p:sp>
      <p:cxnSp>
        <p:nvCxnSpPr>
          <p:cNvPr id="20" name="Gerade Verbindung 19"/>
          <p:cNvCxnSpPr/>
          <p:nvPr>
            <p:custDataLst>
              <p:tags r:id="rId4"/>
            </p:custDataLst>
          </p:nvPr>
        </p:nvCxnSpPr>
        <p:spPr bwMode="gray">
          <a:xfrm>
            <a:off x="6769100" y="2287588"/>
            <a:ext cx="0" cy="2862263"/>
          </a:xfrm>
          <a:prstGeom prst="line">
            <a:avLst/>
          </a:prstGeom>
          <a:noFill/>
          <a:ln w="31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16"/>
          <p:cNvCxnSpPr/>
          <p:nvPr>
            <p:custDataLst>
              <p:tags r:id="rId5"/>
            </p:custDataLst>
          </p:nvPr>
        </p:nvCxnSpPr>
        <p:spPr bwMode="gray">
          <a:xfrm>
            <a:off x="3948113" y="2287588"/>
            <a:ext cx="0" cy="2862263"/>
          </a:xfrm>
          <a:prstGeom prst="line">
            <a:avLst/>
          </a:prstGeom>
          <a:noFill/>
          <a:ln w="31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17"/>
          <p:cNvCxnSpPr/>
          <p:nvPr>
            <p:custDataLst>
              <p:tags r:id="rId6"/>
            </p:custDataLst>
          </p:nvPr>
        </p:nvCxnSpPr>
        <p:spPr bwMode="gray">
          <a:xfrm>
            <a:off x="4892675" y="2287588"/>
            <a:ext cx="0" cy="2862263"/>
          </a:xfrm>
          <a:prstGeom prst="line">
            <a:avLst/>
          </a:prstGeom>
          <a:noFill/>
          <a:ln w="31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Gerade Verbindung 21"/>
          <p:cNvCxnSpPr/>
          <p:nvPr>
            <p:custDataLst>
              <p:tags r:id="rId7"/>
            </p:custDataLst>
          </p:nvPr>
        </p:nvCxnSpPr>
        <p:spPr bwMode="gray">
          <a:xfrm>
            <a:off x="3009900" y="2287588"/>
            <a:ext cx="0" cy="2862263"/>
          </a:xfrm>
          <a:prstGeom prst="line">
            <a:avLst/>
          </a:prstGeom>
          <a:noFill/>
          <a:ln w="31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/>
          <p:cNvCxnSpPr/>
          <p:nvPr>
            <p:custDataLst>
              <p:tags r:id="rId8"/>
            </p:custDataLst>
          </p:nvPr>
        </p:nvCxnSpPr>
        <p:spPr bwMode="gray">
          <a:xfrm>
            <a:off x="5830888" y="2287588"/>
            <a:ext cx="0" cy="2862263"/>
          </a:xfrm>
          <a:prstGeom prst="line">
            <a:avLst/>
          </a:prstGeom>
          <a:noFill/>
          <a:ln w="31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20"/>
          <p:cNvCxnSpPr/>
          <p:nvPr>
            <p:custDataLst>
              <p:tags r:id="rId9"/>
            </p:custDataLst>
          </p:nvPr>
        </p:nvCxnSpPr>
        <p:spPr bwMode="gray">
          <a:xfrm>
            <a:off x="7707313" y="2287588"/>
            <a:ext cx="0" cy="2862263"/>
          </a:xfrm>
          <a:prstGeom prst="line">
            <a:avLst/>
          </a:prstGeom>
          <a:noFill/>
          <a:ln w="31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23" name="Objekt 22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387956707"/>
              </p:ext>
            </p:extLst>
          </p:nvPr>
        </p:nvGraphicFramePr>
        <p:xfrm>
          <a:off x="914399" y="1828800"/>
          <a:ext cx="7090196" cy="3901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09" name="Chart" r:id="rId21" imgW="7090196" imgH="3901793" progId="MSGraph.Chart.8">
                  <p:embed followColorScheme="full"/>
                </p:oleObj>
              </mc:Choice>
              <mc:Fallback>
                <p:oleObj name="Chart" r:id="rId21" imgW="7090196" imgH="390179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914399" y="1828800"/>
                        <a:ext cx="7090196" cy="3901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33" name="Textplatzhalter 39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415088" y="4687888"/>
            <a:ext cx="406400" cy="212725"/>
          </a:xfrm>
          <a:prstGeom prst="rect">
            <a:avLst/>
          </a:prstGeom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C5CD86FD-0535-49FB-970A-0EBAA24171A9}" type="datetime'4''''''''''''''''''''''''''''''''''''''''6''%'''">
              <a:rPr lang="en-US" sz="140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46%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27" name="Textplatzhalter 21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517650" y="4687888"/>
            <a:ext cx="4143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71F389DA-360C-4C45-AEEC-B760839719BE}" type="datetime'''0-''''''''5''''''''''''''''%'''">
              <a:rPr lang="en-US" sz="1400" b="0">
                <a:latin typeface="Arial"/>
                <a:cs typeface="Arial"/>
                <a:sym typeface="Arial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0-5%</a:t>
            </a:fld>
            <a:endParaRPr lang="de-DE" sz="1400" b="0" dirty="0">
              <a:latin typeface="Arial"/>
              <a:cs typeface="Arial"/>
              <a:sym typeface="Arial"/>
            </a:endParaRPr>
          </a:p>
        </p:txBody>
      </p:sp>
      <p:sp>
        <p:nvSpPr>
          <p:cNvPr id="29" name="Textplatzhalter 6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19225" y="3971925"/>
            <a:ext cx="5127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E5D2FD22-B64F-4476-90C6-83DE1745F559}" type="datetime'''''''''''''''''5''''''''''''-1''''''''''''0%'">
              <a:rPr lang="en-US" sz="1400" b="0">
                <a:latin typeface="Arial"/>
                <a:cs typeface="Arial"/>
                <a:sym typeface="Arial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5-10%</a:t>
            </a:fld>
            <a:endParaRPr lang="de-DE" sz="1400" b="0" dirty="0">
              <a:latin typeface="Arial"/>
              <a:cs typeface="Arial"/>
              <a:sym typeface="Arial"/>
            </a:endParaRPr>
          </a:p>
        </p:txBody>
      </p:sp>
      <p:sp useBgFill="1">
        <p:nvSpPr>
          <p:cNvPr id="32" name="Textplatzhalter 38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600450" y="2540000"/>
            <a:ext cx="406400" cy="212725"/>
          </a:xfrm>
          <a:prstGeom prst="rect">
            <a:avLst/>
          </a:prstGeom>
        </p:spPr>
        <p:txBody>
          <a:bodyPr wrap="none" lIns="25400" tIns="0" rIns="2540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E0A2B215-F62A-4200-8A78-174FD95E774A}" type="datetime'''1''''''''''''''''''''''''''''''''''''''''6''''''''''''''%'''">
              <a:rPr lang="en-US" sz="1400">
                <a:latin typeface="Arial"/>
                <a:cs typeface="Arial"/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16%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28" name="Textplatzhalter 5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320800" y="3255963"/>
            <a:ext cx="611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A66B40CE-E3E8-4734-B11E-A35DF07454DC}" type="datetime'''''''10''-''''''''''''''2''''''''''''''0''''''''''%'">
              <a:rPr lang="en-US" sz="1400" b="0">
                <a:latin typeface="Arial"/>
                <a:cs typeface="Arial"/>
                <a:sym typeface="Arial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0-20%</a:t>
            </a:fld>
            <a:endParaRPr lang="de-DE" sz="1400" b="0" dirty="0">
              <a:latin typeface="Arial"/>
              <a:cs typeface="Arial"/>
              <a:sym typeface="Arial"/>
            </a:endParaRPr>
          </a:p>
        </p:txBody>
      </p:sp>
      <p:sp>
        <p:nvSpPr>
          <p:cNvPr id="26" name="Textplatzhalt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73200" y="2540000"/>
            <a:ext cx="4587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6582"/>
              </a:buClr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20000"/>
              </a:spcAft>
              <a:buClr>
                <a:srgbClr val="F49100"/>
              </a:buClr>
              <a:buSzPct val="75000"/>
              <a:buFont typeface="Wingdings" pitchFamily="2" charset="2"/>
              <a:buChar char="£"/>
              <a:defRPr>
                <a:solidFill>
                  <a:schemeClr val="tx1"/>
                </a:solidFill>
                <a:latin typeface="TheSans B4 SemiLight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4910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TheSans B4 SemiLight" pitchFamily="34" charset="0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00"/>
              </a:buClr>
              <a:buChar char="–"/>
              <a:defRPr sz="1500">
                <a:solidFill>
                  <a:schemeClr val="tx1"/>
                </a:solidFill>
                <a:latin typeface="TheSans B4 SemiLight" pitchFamily="34" charset="0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13602CC6-D226-4448-BF86-CAF393F42587}" type="datetime'''''''''''''''''''&gt;''''''''2''0%'''''''''">
              <a:rPr lang="en-US" sz="1400" b="0">
                <a:latin typeface="Arial"/>
                <a:cs typeface="Arial"/>
                <a:sym typeface="Arial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&gt;20%</a:t>
            </a:fld>
            <a:endParaRPr lang="de-DE" sz="1400" b="0" dirty="0">
              <a:latin typeface="Arial"/>
              <a:cs typeface="Arial"/>
              <a:sym typeface="Arial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4267200" y="5659787"/>
            <a:ext cx="1242648" cy="28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0" dirty="0" smtClean="0">
                <a:solidFill>
                  <a:schemeClr val="tx1"/>
                </a:solidFill>
              </a:rPr>
              <a:t>Nennungen</a:t>
            </a:r>
            <a:endParaRPr lang="en-US" sz="1600" b="0" dirty="0" smtClean="0">
              <a:solidFill>
                <a:schemeClr val="tx1"/>
              </a:solidFill>
            </a:endParaRPr>
          </a:p>
        </p:txBody>
      </p:sp>
      <p:graphicFrame>
        <p:nvGraphicFramePr>
          <p:cNvPr id="31" name="Tabel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4123974"/>
              </p:ext>
            </p:extLst>
          </p:nvPr>
        </p:nvGraphicFramePr>
        <p:xfrm>
          <a:off x="7020272" y="2290263"/>
          <a:ext cx="1476000" cy="1080000"/>
        </p:xfrm>
        <a:graphic>
          <a:graphicData uri="http://schemas.openxmlformats.org/drawingml/2006/table">
            <a:tbl>
              <a:tblPr/>
              <a:tblGrid>
                <a:gridCol w="1476000"/>
              </a:tblGrid>
              <a:tr h="540000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edian</a:t>
                      </a:r>
                      <a:endParaRPr lang="de-DE" sz="1400" b="1" i="0" u="none" strike="noStrike" baseline="0" noProof="0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</a:t>
                      </a:r>
                      <a:r>
                        <a:rPr lang="de-DE" sz="1400" b="0" i="0" u="none" strike="noStrike" baseline="0" noProof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de-DE" sz="14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</a:t>
                      </a:r>
                      <a:endParaRPr lang="de-DE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5" name="Textfeld 34"/>
          <p:cNvSpPr txBox="1"/>
          <p:nvPr/>
        </p:nvSpPr>
        <p:spPr>
          <a:xfrm rot="16200000">
            <a:off x="-658624" y="3621396"/>
            <a:ext cx="2974982" cy="28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7200" b="1" kern="1200">
                <a:solidFill>
                  <a:schemeClr val="bg1"/>
                </a:solidFill>
                <a:latin typeface="TheSans B7 Bold" pitchFamily="34" charset="0"/>
                <a:ea typeface="+mn-ea"/>
                <a:cs typeface="+mn-cs"/>
              </a:defRPr>
            </a:lvl9pPr>
          </a:lstStyle>
          <a:p>
            <a:r>
              <a:rPr lang="de-DE" sz="1600" b="0" dirty="0" smtClean="0">
                <a:solidFill>
                  <a:schemeClr val="tx1"/>
                </a:solidFill>
              </a:rPr>
              <a:t>Einsparpotential / Nutzeneffekt</a:t>
            </a:r>
            <a:endParaRPr lang="en-US" sz="1600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068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2&quot;&gt;&lt;elem m_fUsage=&quot;5.25880598866766660000E+000&quot;&gt;&lt;m_msothmcolidx val=&quot;0&quot;/&gt;&lt;m_rgb r=&quot;93&quot; g=&quot;93&quot; b=&quot;93&quot;/&gt;&lt;m_ppcolschidx tagver0=&quot;23004&quot; tagname0=&quot;m_ppcolschidxUNRECOGNIZED&quot; val=&quot;0&quot;/&gt;&lt;m_nBrightness val=&quot;0&quot;/&gt;&lt;/elem&gt;&lt;elem m_fUsage=&quot;3.39034229365934260000E+000&quot;&gt;&lt;m_msothmcolidx val=&quot;0&quot;/&gt;&lt;m_rgb r=&quot;69&quot; g=&quot;69&quot; b=&quot;69&quot;/&gt;&lt;m_ppcolschidx tagver0=&quot;23004&quot; tagname0=&quot;m_ppcolschidxUNRECOGNIZED&quot; val=&quot;0&quot;/&gt;&lt;m_nBrightness val=&quot;0&quot;/&gt;&lt;/elem&gt;&lt;/m_vecMRU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Gn7YL75EWEwIsOlDF.9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fgP3Q9V0mGDjCo.bp3Q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tRXeESfkGgo4QWvE75U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Szcl5xa0iz29NGUiTIZ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fDwOMiyken8H31DrV39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JeNf8nyUutJ.D8eOogi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Z6Jx4rTUC2cvRv9LAlp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Fsop3V_EC9AY4O.kF_n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_sm_FRXEWjX5lfePrsN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Fi_iAcCk.9ZKoBT.NK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KMCMS5ukKTl7mIXJuG.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uXqI4SY06wBYe7IzprA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M_fsFUEUa9eahlLbBFZ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Em3jEQmEGPaWRXPtWT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p7k6OauUK0DefujSMxM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3pcYsaok.Do077wgbm3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j_I3f1Vkud5_NwFWJya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.SSIMHUqPpMcqtvwFh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9FvL_p7Ui_reicH9VsK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eDDJ2.Eq7jvMIqL_5K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J6kSLiMk.8yiH25_2o9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sLoMuM.U.RWyZB7yVA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JudSABsUG4w5V_V3YJ6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Pk.IVoUahUSjXw1Ayn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bkq1XkXkSMkr.mTVIWu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y2hcfmEEC_.v3q_FpB8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nkkrjpCkyzFC3zeCqKM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UYbyft40CHB.MTtLxu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IRNf7cP0a.EwYrsW4IR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NVNtDS_U..B7Ei6fhKn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AN2t3Ig0adS9.LiTzsr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Bj2qaR_Eu3lwU5veSh0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8gqr0CIke0sG4PUd5e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5HJHJ2cEyGu_DdXzyi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EDA59OL0C_8ZCsDdRKo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0uT6Uf0uWmjlODKA65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XlfsdTr0OsMSfV1OiNE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Szcl5xa0iz29NGUiTI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_sm_FRXEWjX5lfePrsN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fDwOMiyken8H31DrV3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JeNf8nyUutJ.D8eOogi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Z6Jx4rTUC2cvRv9LAlp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8Yc5t1_kKccLyR1s40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qPi4yUK0y9wziyIaTAi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fgP3Q9V0mGDjCo.bp3Q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Fsop3V_EC9AY4O.kF_n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6rieS__Eih4vjTBlqk9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tRXeESfkGgo4QWvE75U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KjR3b6kSIyiHlfpBwR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XUvONukSxuLK1suqP5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Pk.IVoUahUSjXw1Ayn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3q41MtNEia0TlDaul3S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K3pMjtukum_VKqg0RX4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eSHIrTV0m6PMAFxZug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QETpjhckuqhbutP7sBS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BvBNUz7Umlt0.eqO6V9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J6kSLiMk.8yiH25_2o9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f4Nzopa0CjLONVKzU3S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3pcYsaok.Do077wgbm3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M_fsFUEUa9eahlLbBFZ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Em3jEQmEGPaWRXPtWTQ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KMCMS5ukKTl7mIXJuG.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O7Ie92nkuL11bU9dol5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vJ_zPERUe4LcJ5pL4D1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Njbf2AmUmjNORgjRt3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f0OGM5GkmA.vADfnnGi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j_I3f1Vkud5_NwFWJya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NVNtDS_U..B7Ei6fhKn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nkkrjpCkyzFC3zeCqKM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UYbyft40CHB.MTtLxux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IRNf7cP0a.EwYrsW4IR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EDA59OL0C_8ZCsDdRKo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AN2t3Ig0adS9.LiTzsr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8gqr0CIke0sG4PUd5ec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Bj2qaR_Eu3lwU5veSh0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PbiqfFe0iIdoB1ZfYDb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0uT6Uf0uWmjlODKA65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tOny2pQkqeZlj3Sftnp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54tXcYXUutWs579eMDA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l_vdF3nUm1ODz7yZSCB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6Z4y5vQkCuZLkIE9mhS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ylOB318Eebj5gmOqfZV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nURM1LkUGCxd7FGjZQ8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GTSPEQvkuQYMhTg0zn4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z0uHTkokynWR0L4KtoQ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n2pLhcsUGCEIn_UdkD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vRCV2Xs062hkjlCar4I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vm4d2KaUKYUU5nAXcYK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SEMdtf2UqzuFmynnG_L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XdUfAEsk.EkhL3tBW0t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OlYW.QmkuYfoP01eJ_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1VDzAP5EqNojbVjZ8u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pSq6FFt0mwX7tfYoFI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8Ucg1Gz0umilve..26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LUE9b2wUKI6bCTx.xa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AMH7rYGkCyRxHAiM5e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BjHRy0Z0qJOKk0LNhw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fNDbNMckWe1iw4HI1G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pfYKarlU2_y7fSssQn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SyXTwyEUK3nEIfQu6F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PUdzZ0kWvl8i09UJ1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yUyHZ7keOPqj0W3wm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e54OYsyE.MWMPVBg4.6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O9iQN3jECR4GYIhRzo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E7V9ELb0iAbtc9o_HY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eVZWzxck26_jN_FsYl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GWakMJn0C_CY5ahsLU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K85zwMYES.ytRVHeuo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CG5lHgi0Sv6mBMKuZ5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46YzPphkeQFlaIlu3pa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vWhgb6rUi042RIPEAn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MUtEImUUCj9Oy2Q6XG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EAdf4hBkGleCKit8HIi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cI8q2zP0OnUAWA3fxL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InOxmy4UGNOujhO0Fm_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iYIIwrIUK3BCirPoAt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zV_QR110WzqlsstXcW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_EPZ6kDkWsSZ4zQNxa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0uT6Uf0uWmjlODKA6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QcLE.XBEOmmkZwnlx5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dV0LUEaE.HemcsmPu1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Dzu74070uGPdPedYyy6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Ok.9lqEUW7k2vwgd3ib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WpwOl7p0uKSmOM5UBM_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RV.ZVsjk.AS4yrMbVG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hfJPoVREaWwv7EcCkv2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Du9rekuUaLv2dsiZ90r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3iMrwqU0qJX_Wgx86d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VoQWo8ECelmb_wxbn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UOlkNgXkeEhTq22XQLG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5CznN.IEmB1MBtyZqM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0uT6Uf0uWmjlODKA65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YhYgcyGkqtMtv5wfHsa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ygC7hJHkG6tWlkRundC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y3i_YUYU6iDQ71llXh9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_kixYSFUW9TILEaXEy8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jPX4rOlUejq52cW0bM0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b6OnYxH0mDsLhYY2DSr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CiEsj3V0m5WOPVpMOgr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V8TXJtQEGRjLn4.SOA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7TDGxsw0OWZX_GgZG.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sgaxj.k0e_Ae17seWh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x8UBnYsUay1ptYwAik1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NOeFu..EOFWasHaNHtu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uM4c2xn0W45bM9Bfz48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Pbz6edi0ax9ADy3Nao9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IYHmhBLEOKINveDRPIl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oTN3L1vUeJn32QwQ4z6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VlGAt1ak2qs.Hw9A4fx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KVaHkaK0Sz07U8Gm6qS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1t.91IGkGsnVIMSsr56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4_pXSkK06bGV_tr3pCQ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gGQRb3Q0GEDosZ7wnv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wEOvg0xUy5Rz84djHMf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EBt8GeA0i9cqJHS9Hx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AXVFnUCUa5Krk011lCQ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Aqg91O.kW56kKATG1tI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Plr9fx9kCuSMBk1L6.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bJKvFFLkOWmF8zXpKDx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N_BznjESNFKNaZ6R0x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mb5x9CUUmcelWNtMQoM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DWDYUJakOm.oF19gkXJ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b0wUpnL0mdtAn_eOrxK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0V4IzNhkSz4nK5HiqP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z0WicaB06g6bHWi8TWc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lFJlY2rkO6MX.ye0Hlb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3HAUumwUe75X1M.xJki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4VYklKnk6jF8gVYn.4P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gh53vZ4kqh9cJe8OP4i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0uT6Uf0uWmjlODKA65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I7TWqTsUmjm_7xAUTo5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6rieS__Eih4vjTBlqk9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KjR3b6kSIyiHlfpBw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8Yc5t1_kKccLyR1s40xg"/>
</p:tagLst>
</file>

<file path=ppt/theme/theme1.xml><?xml version="1.0" encoding="utf-8"?>
<a:theme xmlns:a="http://schemas.openxmlformats.org/drawingml/2006/main" name="VD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6582"/>
      </a:accent1>
      <a:accent2>
        <a:srgbClr val="F49100"/>
      </a:accent2>
      <a:accent3>
        <a:srgbClr val="FFFFFF"/>
      </a:accent3>
      <a:accent4>
        <a:srgbClr val="000000"/>
      </a:accent4>
      <a:accent5>
        <a:srgbClr val="AAB8C1"/>
      </a:accent5>
      <a:accent6>
        <a:srgbClr val="DD8300"/>
      </a:accent6>
      <a:hlink>
        <a:srgbClr val="7E597E"/>
      </a:hlink>
      <a:folHlink>
        <a:srgbClr val="FEEC00"/>
      </a:folHlink>
    </a:clrScheme>
    <a:fontScheme name="VDMA">
      <a:majorFont>
        <a:latin typeface="TheSans B7 Bold"/>
        <a:ea typeface=""/>
        <a:cs typeface=""/>
      </a:majorFont>
      <a:minorFont>
        <a:latin typeface="TheSans B7 Bol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8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TheSans B7 Bold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8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7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heSans B7 Bold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600" b="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VDM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6F7A"/>
        </a:accent1>
        <a:accent2>
          <a:srgbClr val="FF8700"/>
        </a:accent2>
        <a:accent3>
          <a:srgbClr val="FFFFFF"/>
        </a:accent3>
        <a:accent4>
          <a:srgbClr val="000000"/>
        </a:accent4>
        <a:accent5>
          <a:srgbClr val="AABBBE"/>
        </a:accent5>
        <a:accent6>
          <a:srgbClr val="E77A00"/>
        </a:accent6>
        <a:hlink>
          <a:srgbClr val="7E597E"/>
        </a:hlink>
        <a:folHlink>
          <a:srgbClr val="FEE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DMA</Template>
  <TotalTime>0</TotalTime>
  <Words>437</Words>
  <Application>Microsoft Office PowerPoint</Application>
  <PresentationFormat>Bildschirmpräsentation (4:3)</PresentationFormat>
  <Paragraphs>182</Paragraphs>
  <Slides>5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5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VDMA</vt:lpstr>
      <vt:lpstr>think-cell Folie</vt:lpstr>
      <vt:lpstr>Image</vt:lpstr>
      <vt:lpstr>CorelDRAW</vt:lpstr>
      <vt:lpstr>Diagramm</vt:lpstr>
      <vt:lpstr>Chart</vt:lpstr>
      <vt:lpstr>Allgemeiner Wettbewerbsdruck</vt:lpstr>
      <vt:lpstr>Wettbewerbsdruck nach Ländern</vt:lpstr>
      <vt:lpstr>Nutzen aus der Modularisierung (1/2)</vt:lpstr>
      <vt:lpstr>Nutzen aus der Modularisierung (2/2)</vt:lpstr>
      <vt:lpstr>Gesamtergebnis - Relevanter Geschäftsbereich</vt:lpstr>
    </vt:vector>
  </TitlesOfParts>
  <Company>VDMA e.V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Dorothee Olivier</dc:creator>
  <cp:lastModifiedBy>Faulstroh, Karin</cp:lastModifiedBy>
  <cp:revision>348</cp:revision>
  <cp:lastPrinted>2014-06-02T07:33:35Z</cp:lastPrinted>
  <dcterms:created xsi:type="dcterms:W3CDTF">2011-01-21T09:55:56Z</dcterms:created>
  <dcterms:modified xsi:type="dcterms:W3CDTF">2014-06-13T07:34:59Z</dcterms:modified>
</cp:coreProperties>
</file>